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6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38" r:id="rId4"/>
    <p:sldMasterId id="2147483893" r:id="rId5"/>
    <p:sldMasterId id="2147483910" r:id="rId6"/>
    <p:sldMasterId id="2147484064" r:id="rId7"/>
    <p:sldMasterId id="2147484313" r:id="rId8"/>
    <p:sldMasterId id="2147484335" r:id="rId9"/>
    <p:sldMasterId id="2147484477" r:id="rId10"/>
  </p:sldMasterIdLst>
  <p:notesMasterIdLst>
    <p:notesMasterId r:id="rId23"/>
  </p:notesMasterIdLst>
  <p:handoutMasterIdLst>
    <p:handoutMasterId r:id="rId24"/>
  </p:handoutMasterIdLst>
  <p:sldIdLst>
    <p:sldId id="256" r:id="rId11"/>
    <p:sldId id="2147483514" r:id="rId12"/>
    <p:sldId id="2147483563" r:id="rId13"/>
    <p:sldId id="2147483570" r:id="rId14"/>
    <p:sldId id="2147483571" r:id="rId15"/>
    <p:sldId id="2147483572" r:id="rId16"/>
    <p:sldId id="2147483573" r:id="rId17"/>
    <p:sldId id="2147483574" r:id="rId18"/>
    <p:sldId id="2147483575" r:id="rId19"/>
    <p:sldId id="2147483565" r:id="rId20"/>
    <p:sldId id="2147198426" r:id="rId21"/>
    <p:sldId id="2147483512" r:id="rId22"/>
  </p:sldIdLst>
  <p:sldSz cx="9144000" cy="5143500" type="screen16x9"/>
  <p:notesSz cx="6858000" cy="9874250"/>
  <p:custDataLst>
    <p:tags r:id="rId25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>
        <a:solidFill>
          <a:schemeClr val="tx1"/>
        </a:solidFill>
        <a:latin typeface="+mn-lt"/>
        <a:ea typeface="+mn-ea"/>
      </a:defRPr>
    </a:lvl2pPr>
    <a:lvl3pPr marL="27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•"/>
      <a:defRPr sz="1800">
        <a:solidFill>
          <a:schemeClr val="tx1"/>
        </a:solidFill>
        <a:latin typeface="+mn-lt"/>
        <a:ea typeface="+mn-ea"/>
      </a:defRPr>
    </a:lvl3pPr>
    <a:lvl4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-"/>
      <a:defRPr sz="1800">
        <a:solidFill>
          <a:schemeClr val="tx1"/>
        </a:solidFill>
        <a:latin typeface="+mn-lt"/>
        <a:ea typeface="+mn-ea"/>
      </a:defRPr>
    </a:lvl4pPr>
    <a:lvl5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◦"/>
      <a:defRPr sz="1800">
        <a:solidFill>
          <a:schemeClr val="tx1"/>
        </a:solidFill>
        <a:latin typeface="+mn-lt"/>
        <a:ea typeface="+mn-ea"/>
      </a:defRPr>
    </a:lvl5pPr>
    <a:lvl6pPr marL="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rabicPeriod"/>
      <a:defRPr sz="1800">
        <a:solidFill>
          <a:schemeClr val="tx1"/>
        </a:solidFill>
        <a:latin typeface="+mn-lt"/>
        <a:ea typeface="+mn-ea"/>
      </a:defRPr>
    </a:lvl6pPr>
    <a:lvl7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lphaLcPeriod"/>
      <a:defRPr sz="1800">
        <a:solidFill>
          <a:schemeClr val="tx1"/>
        </a:solidFill>
        <a:latin typeface="+mn-lt"/>
        <a:ea typeface="+mn-ea"/>
      </a:defRPr>
    </a:lvl7pPr>
    <a:lvl8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romanLcPeriod"/>
      <a:defRPr sz="18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24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962">
          <p15:clr>
            <a:srgbClr val="A4A3A4"/>
          </p15:clr>
        </p15:guide>
        <p15:guide id="2" pos="748">
          <p15:clr>
            <a:srgbClr val="A4A3A4"/>
          </p15:clr>
        </p15:guide>
        <p15:guide id="3" orient="horz" pos="225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12DFB09-A4AF-3E6B-2331-DAEA22BD0375}" name="Haggerty, Ben" initials="HB" userId="S::Ben.Haggerty@uk.nationalgrid.com::e8597e28-c857-4ab0-b93e-251677e42882" providerId="AD"/>
  <p188:author id="{1B17D80B-7C14-8978-7481-13C28BCF9560}" name="Daniel Clarke" initials="DC" userId="S::Daniel.Clarke@uk.nationalgrid.com::891fbf4c-976d-4264-8429-1220f18b6f73" providerId="AD"/>
  <p188:author id="{AB249711-19A4-36F2-71E8-C85E57C97EE7}" name="Theresa Potter" initials="TP" userId="S::Theresa.Potter@uk.nationalgrid.com::5e74d2bc-454e-43b0-9cd4-e0c50ca67d03" providerId="AD"/>
  <p188:author id="{BFAE733B-980B-DF56-F538-FB9E48E8FBFA}" name="Gill Kelleher" initials="GK" userId="S::Gill.Kelleher@nationalgrid.com::69caf9bf-f16b-485b-b61a-7c71eb202e69" providerId="AD"/>
  <p188:author id="{7B24D371-9B1B-C20D-407A-6959B66FA6C4}" name="Vasko, Isabelle" initials="VI" userId="S::Isabelle.Vasko@uk.nationalgrid.com::8c015ad9-5a0c-477f-a321-fc94a6c4129f" providerId="AD"/>
  <p188:author id="{F1800699-8B0D-DD7F-0EE4-616A206D276E}" name="Rory Ngah" initials="" userId="S::Rory.Ngah@nationalgrid.com::863145ee-42fe-40ae-87d8-8b729e455f60" providerId="AD"/>
  <p188:author id="{36FDB7E0-9BE2-34E0-815F-1F44F0106223}" name="Rory Ngah" initials="RN" userId="S::rory.ngah@nationalgrid.com::863145ee-42fe-40ae-87d8-8b729e455f60" providerId="AD"/>
  <p188:author id="{ECC094E6-5A52-E511-30F4-DEF0FB2656BF}" name="Rory Ngah" initials="RN" userId="S::Rory.Ngah@uk.nationalgrid.com::863145ee-42fe-40ae-87d8-8b729e455f60" providerId="AD"/>
  <p188:author id="{0EEC3BF7-D29B-D8C7-E166-95F8BBF26D70}" name="Gardner, Andrew" initials="GA" userId="S::andrew.gardner@uk.nationalgrid.com::3b424cc1-5f9b-4349-904f-0880eb3d7b6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555A"/>
    <a:srgbClr val="C800A1"/>
    <a:srgbClr val="00148C"/>
    <a:srgbClr val="000000"/>
    <a:srgbClr val="C80081"/>
    <a:srgbClr val="008391"/>
    <a:srgbClr val="F0F0F0"/>
    <a:srgbClr val="E999D9"/>
    <a:srgbClr val="99C7EB"/>
    <a:srgbClr val="CCE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849" autoAdjust="0"/>
  </p:normalViewPr>
  <p:slideViewPr>
    <p:cSldViewPr snapToGrid="0">
      <p:cViewPr varScale="1">
        <p:scale>
          <a:sx n="119" d="100"/>
          <a:sy n="119" d="100"/>
        </p:scale>
        <p:origin x="418" y="91"/>
      </p:cViewPr>
      <p:guideLst>
        <p:guide orient="horz" pos="962"/>
        <p:guide pos="748"/>
        <p:guide orient="horz" pos="2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0C1F726-0934-AE86-4DBB-B12D910F46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/>
          <a:lstStyle>
            <a:lvl1pPr algn="l">
              <a:defRPr sz="1200"/>
            </a:lvl1pPr>
          </a:lstStyle>
          <a:p>
            <a:r>
              <a:rPr lang="en-GB" b="0">
                <a:solidFill>
                  <a:srgbClr val="FF0000"/>
                </a:solidFill>
              </a:rPr>
              <a:t>CONFIDENTIA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07FAEF-58A9-ADBF-059F-A183C9052D9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350" y="1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/>
          <a:lstStyle>
            <a:lvl1pPr algn="r">
              <a:defRPr sz="1200"/>
            </a:lvl1pPr>
          </a:lstStyle>
          <a:p>
            <a:fld id="{8181FC67-D3F1-4FF4-A263-BB378F0FDE65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47109F-64C3-7A2C-8F80-7DEAB3CAF7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8855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451509-2E19-7A88-33EC-A78A2C470BC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350" y="9378855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 anchor="b"/>
          <a:lstStyle>
            <a:lvl1pPr algn="r">
              <a:defRPr sz="1200"/>
            </a:lvl1pPr>
          </a:lstStyle>
          <a:p>
            <a:fld id="{2C7AF8BF-CB42-4687-88E8-08DD2ACF95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3603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350" y="1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/>
          <a:lstStyle>
            <a:lvl1pPr algn="r">
              <a:defRPr sz="1200"/>
            </a:lvl1pPr>
          </a:lstStyle>
          <a:p>
            <a:fld id="{FB2D672D-EA85-4640-A616-C7CFBA3B3D55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8313" y="1235075"/>
            <a:ext cx="59213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15" tIns="46708" rIns="93415" bIns="467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476" y="4751954"/>
            <a:ext cx="5487053" cy="3887815"/>
          </a:xfrm>
          <a:prstGeom prst="rect">
            <a:avLst/>
          </a:prstGeom>
        </p:spPr>
        <p:txBody>
          <a:bodyPr vert="horz" lIns="93415" tIns="46708" rIns="93415" bIns="46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55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350" y="9378855"/>
            <a:ext cx="2972018" cy="495396"/>
          </a:xfrm>
          <a:prstGeom prst="rect">
            <a:avLst/>
          </a:prstGeom>
        </p:spPr>
        <p:txBody>
          <a:bodyPr vert="horz" lIns="93415" tIns="46708" rIns="93415" bIns="46708" rtlCol="0" anchor="b"/>
          <a:lstStyle>
            <a:lvl1pPr algn="r">
              <a:defRPr sz="1200"/>
            </a:lvl1pPr>
          </a:lstStyle>
          <a:p>
            <a:fld id="{0E32CE3F-75E1-48A0-819C-C1285F1F79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115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Demand for degree level training and above, particular in STEM and related subjects, will continue to dominate some priority sector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BCCFF-D4BF-488D-9951-A8C86D6985E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08763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411BCCFF-D4BF-488D-9951-A8C86D6985E4}" type="slidenum">
              <a:rPr kumimoji="0" lang="en-GB" sz="1200" b="1" i="0" u="none" strike="noStrike" kern="0" cap="none" spc="0" normalizeH="0" baseline="0" noProof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1" i="0" u="none" strike="noStrike" kern="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50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8000" y="1062500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5544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/>
        </p:nvSpPr>
        <p:spPr>
          <a:xfrm>
            <a:off x="9206425" y="216765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9D3EBF-C09F-4BFE-A337-C53563F40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310491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9D3EBF-C09F-4BFE-A337-C53563F40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vert="horz"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4696555" y="696055"/>
            <a:ext cx="5143500" cy="3751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172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BAB2FA-45D9-42E9-AC56-C30FC7AAE3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45144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BAB2FA-45D9-42E9-AC56-C30FC7AAE3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flipV="1">
            <a:off x="4000500" y="1392110"/>
            <a:ext cx="5143500" cy="375139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vert="horz"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656119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623110-DB4A-44F1-9D05-7E76804D92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2553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623110-DB4A-44F1-9D05-7E76804D9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1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1574" y="2078324"/>
            <a:ext cx="4752427" cy="3065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86602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DA883-63BA-4018-8A59-DB2AF915F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7146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DA883-63BA-4018-8A59-DB2AF915F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6" y="4778376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‹#›</a:t>
            </a:fld>
            <a:endParaRPr lang="en-GB" sz="6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270090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2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4" marR="0" lvl="2" indent="-90484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607187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421975-A40D-45C3-9B41-5C42884DB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962420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3865B-ADBD-59E0-B62E-58DC198846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6A08-C5CA-B5A7-E0DC-06AB8663B5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8881A-6940-31C5-56BE-AD347841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9D2F46-8527-E36F-F7CE-8E12D22EA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0D3EA4-F7C0-DAE0-0DD0-9530BDEE2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75790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090528-78FA-5BE0-E812-0B20F6A33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25D122-17C0-B2D7-4DA3-14531B19A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607CCA-ADF2-479E-3585-95ED8AE7B0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B1526-B0B2-8BBD-3838-37688F9A0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3E60CB-DC1B-5EBB-F02E-38CA0ED2A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093708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7C6970-EF0E-43A7-8EB8-1F221E729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66EB34-16FC-E037-DE4C-71C3C891DA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44FBC-39C7-1241-4504-B3739313D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F37338-55A2-1A5C-2788-3DA711E9C2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975117-C873-C1DE-5692-BBB23F27D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97693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F9E1A-F7D1-D45B-7B6B-69D8C7CD8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B97F5F-B75D-F641-0112-80D3844973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8A04FB-6522-71F7-62DC-E18CB4776B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9885C8-AA05-A3F6-BF5E-9B11102C7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1584A1-20D0-1F1F-A095-610082BE41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5C58ED-DF31-B720-A07B-1B09930CA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031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6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8000" y="1062500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/>
        </p:nvSpPr>
        <p:spPr>
          <a:xfrm>
            <a:off x="9206425" y="216765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ED72A-9674-43D5-C32E-4C09AACC26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D8EED9-7B48-82F7-EA20-6FF089E335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A661FF-4B68-9EFE-14D0-D77D142D5A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581EA2-9401-3275-128E-35ECEFB2A8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0E982C-BAB4-C670-4CC9-A7E0308DB3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C00520-1B5E-6371-9ED1-2EC3669D9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C29492-D8B9-B403-8EBC-343D4B9DC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477CA4-33F5-2DF3-E031-4CB354963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361909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AD598-1C67-C0A3-565E-1DC70EFC6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4EC122-8ED7-CFEE-7F3F-83C73B17EB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CE2118-822F-4A19-9A64-F1DCDF2A8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8121BC-2C19-C2C9-4CEA-885906C74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286939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1FED9F-8F54-A6FD-FF77-4A8F4DD38B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1D19E1-BC85-6BA8-7E4F-EDFD6F3D6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E0D36-5937-5665-BCA0-80841693F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50008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F0EDD8-666E-18C5-9D24-712555B1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10436D-994C-7E4A-4CE9-97EFE1D294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5A71CA-8183-351E-DE50-4F031E51A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A1AF70-FFB7-5EBE-9DE4-E0BE1E155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6B4B98-155D-AB93-8BA7-32E095D3FF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087E60-C293-51A2-683B-5B2C17D37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8208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B58B0-E264-BA8F-941E-9AC634A59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2C618A-A844-A8B5-C9A4-73CF7572D6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32C61-C4E6-0B5E-35F7-BAD0864110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DFF59E-43C7-8362-5027-448D557D9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A4FD23-CC62-0C8A-6E24-74015D76F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22C643-07A9-BCD4-EC2C-419AD328F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1934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E2332-1CD2-49CD-B071-73F3EC21C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D1535D-8540-7940-9043-C1D664508C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94D7DF-CCCD-4624-6F15-527274296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9703F8-73AD-E475-4CC2-55AF7039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AFA837-56D2-243E-CE39-732589D65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960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F0566C5-718B-DFEB-E315-66FF3A437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D6CC48-F2E2-0408-B3D3-8B8F1802AF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CB8B1E-048A-C145-977B-0D4E54A06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10476-15EE-858A-57E9-E60C7A26A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DA512A-3C15-5062-90CD-9BA801C6A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51362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181FEB-4448-4DE6-E070-7CDEDF4708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424247-183E-C812-7210-345BA11BB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19B01C-86EC-20F3-E027-831A14012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299C07-716B-CA9C-54F7-AD04C73E2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ACFB0D-B499-B235-3F56-52140B48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484255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DF07A-9570-0039-7411-2698F10E5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2E6149-3FA1-D1E0-48C4-FE687B6EF6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19DF1E-8F74-139D-BBAE-CEE083716D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7AEE89-6CC5-250E-F727-2052B4ABB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DC958C-D6C2-C06A-D9B1-E7E4DEEF8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2854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EBBEB-6570-89D4-08E9-AE07429D8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E5BBD8-990E-5272-5F7F-89B7081098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ADC6F7-875B-03E8-3A05-8C295DCDD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828AC-3080-6D0D-9320-E1F0B0E4A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25EC70-9A77-75D9-AF85-FA65C8BB2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604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/>
        </p:nvSpPr>
        <p:spPr>
          <a:xfrm>
            <a:off x="9206425" y="0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D9A130-3AA6-E194-EB61-AF0FFE895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DCA58-9BB8-9137-8651-6ABE9EA466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74ACD2-3E14-A01D-4606-B9E12B55B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B9CF81-EC67-CEA4-240F-FC9F60DEC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8ECF48-58B2-B656-052D-C7A011DB5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915CDF-AD95-0505-46A6-05EC3362A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065281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336AB7-DDA0-AD05-18C0-F82E9B8B1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291DDA-D3F5-C13C-3AF7-3A063D237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F37D4B-8CF6-16C7-AC40-20FA36A0BD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815444-69B2-AAE8-9F8E-29EED3C5FC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45A0FF-E725-C006-249C-4601A8E061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37DBE7-3BEE-D115-D003-032519973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DD9AF8-5AA6-F8B6-76F9-8B4A0D968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E143DC3-7F70-41CF-695D-7E2F238AD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552945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4DBE9-501E-DB4D-BD0D-0C83BA724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F22DDD-91F3-648C-5E1B-795B33389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B746E9-14A4-E717-2349-344BDE0DA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DDB98A-4FC6-C2BD-C9D3-0405B8021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20374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B7A86C-FB5C-024A-8680-C1E8BD056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675DD-7B80-E33B-5C2B-4AE3C7AEA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0F3BE-C8B2-76D3-E6B4-27E1C529E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73804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5E315-ADEC-1259-88ED-072477000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8260D8-8CE6-D17C-329C-6AFDF14431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9A24FA-9811-D684-133E-623018573C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E92F88-B4AD-9DA2-65EF-81ECA101E0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3908C9-2D71-4BB5-7EAD-CA6FE54D8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1F315-1489-27BF-9CDB-8BECD5E44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4819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56193-D5D0-C4DC-AE4D-5A9B6302C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3341841-D529-4470-5E88-E9584D0197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03EABF-7E2B-BA9D-E516-C15EE012D1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869E80-8530-22B6-5046-F3BE458BD7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B6BEBE-6E4D-C170-60D8-E074F0D96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618D39-1EF4-019E-3059-CC0B3D8CB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03164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0B8AA-49F8-CAAD-FB69-A0E2939FE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3A462A-E61C-7C02-F13D-2576227C07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002351-9275-02CA-B4B9-EF87D6880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83FC26-1B8C-8C84-26FB-BC9FD35C8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A649E5-053F-9A6E-7A76-8F71D9BBA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31387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659321-3BE8-7496-DD7A-78346795F2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137501-5BA6-03ED-69D3-03996E4A17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761C40-4B24-FB25-2F0A-0360C4435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A53DB-47CA-42AE-A724-C0CE440BEFE7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E4CA4E-A224-D66B-EDD5-E4431C370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25E45D-6813-46B2-019C-680787702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7B6DA-6F48-4C41-B3E4-69D6655889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30454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6761094" cy="475562"/>
          </a:xfrm>
        </p:spPr>
        <p:txBody>
          <a:bodyPr anchor="t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FAC2E-E7DE-330A-6A55-BA2D05277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264DFC8-2329-46AD-9E4A-2CCF85BD16D0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8D62-93C4-A279-72F9-226F3E9D1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9471-1B10-358F-6C4F-E874ECA81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F4753FD0-38DC-4CC9-B145-2CC0CF087D1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4687705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6761094" cy="475562"/>
          </a:xfrm>
        </p:spPr>
        <p:txBody>
          <a:bodyPr anchor="t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1350"/>
            </a:lvl1pPr>
            <a:lvl2pPr marL="342900" indent="0">
              <a:buNone/>
              <a:defRPr sz="1350"/>
            </a:lvl2pPr>
            <a:lvl3pPr marL="685800" indent="0">
              <a:buNone/>
              <a:defRPr sz="135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FAC2E-E7DE-330A-6A55-BA2D05277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03F6DB6-1D43-45A4-B3D8-90D9DD530981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8D62-93C4-A279-72F9-226F3E9D1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9471-1B10-358F-6C4F-E874ECA81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F4753FD0-38DC-4CC9-B145-2CC0CF087D1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51155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554355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/>
        </p:nvSpPr>
        <p:spPr>
          <a:xfrm>
            <a:off x="9206425" y="216765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6761094" cy="475562"/>
          </a:xfrm>
        </p:spPr>
        <p:txBody>
          <a:bodyPr anchor="t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FAC2E-E7DE-330A-6A55-BA2D05277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A054200-5247-4E52-BB69-6ABA02BB2277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8D62-93C4-A279-72F9-226F3E9D1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9471-1B10-358F-6C4F-E874ECA81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F4753FD0-38DC-4CC9-B145-2CC0CF087D17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2D840B5-86B4-0F12-B738-B2F7325615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621128"/>
            <a:ext cx="6761094" cy="293466"/>
          </a:xfrm>
        </p:spPr>
        <p:txBody>
          <a:bodyPr/>
          <a:lstStyle>
            <a:lvl1pPr marL="0" indent="0">
              <a:buNone/>
              <a:defRPr sz="1500" b="1">
                <a:solidFill>
                  <a:srgbClr val="AB003E"/>
                </a:solidFill>
              </a:defRPr>
            </a:lvl1pPr>
            <a:lvl2pPr marL="342900" indent="0">
              <a:buNone/>
              <a:defRPr sz="1500" b="1">
                <a:solidFill>
                  <a:srgbClr val="AB003E"/>
                </a:solidFill>
              </a:defRPr>
            </a:lvl2pPr>
            <a:lvl3pPr marL="685800" indent="0">
              <a:buNone/>
              <a:defRPr sz="1500" b="1">
                <a:solidFill>
                  <a:srgbClr val="AB003E"/>
                </a:solidFill>
              </a:defRPr>
            </a:lvl3pPr>
            <a:lvl4pPr marL="1028700" indent="0">
              <a:buNone/>
              <a:defRPr sz="1500" b="1">
                <a:solidFill>
                  <a:srgbClr val="AB003E"/>
                </a:solidFill>
              </a:defRPr>
            </a:lvl4pPr>
            <a:lvl5pPr marL="1371600" indent="0">
              <a:buNone/>
              <a:defRPr sz="1500" b="1">
                <a:solidFill>
                  <a:srgbClr val="AB003E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570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6761094" cy="475562"/>
          </a:xfrm>
        </p:spPr>
        <p:txBody>
          <a:bodyPr anchor="t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1350"/>
            </a:lvl1pPr>
            <a:lvl2pPr marL="342900" indent="0">
              <a:buNone/>
              <a:defRPr sz="1350"/>
            </a:lvl2pPr>
            <a:lvl3pPr marL="685800" indent="0">
              <a:buNone/>
              <a:defRPr sz="135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FAC2E-E7DE-330A-6A55-BA2D05277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37FF577-6017-488E-B083-3F02CCF46A1A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8D62-93C4-A279-72F9-226F3E9D1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9471-1B10-358F-6C4F-E874ECA81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F4753FD0-38DC-4CC9-B145-2CC0CF087D17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F306853C-7A66-AC28-8FBA-0D4538ED42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621128"/>
            <a:ext cx="6761094" cy="293466"/>
          </a:xfrm>
        </p:spPr>
        <p:txBody>
          <a:bodyPr/>
          <a:lstStyle>
            <a:lvl1pPr marL="0" indent="0">
              <a:buNone/>
              <a:defRPr sz="1500" b="1">
                <a:solidFill>
                  <a:srgbClr val="AB003E"/>
                </a:solidFill>
              </a:defRPr>
            </a:lvl1pPr>
            <a:lvl2pPr marL="342900" indent="0">
              <a:buNone/>
              <a:defRPr sz="1500" b="1">
                <a:solidFill>
                  <a:srgbClr val="AB003E"/>
                </a:solidFill>
              </a:defRPr>
            </a:lvl2pPr>
            <a:lvl3pPr marL="685800" indent="0">
              <a:buNone/>
              <a:defRPr sz="1500" b="1">
                <a:solidFill>
                  <a:srgbClr val="AB003E"/>
                </a:solidFill>
              </a:defRPr>
            </a:lvl3pPr>
            <a:lvl4pPr marL="1028700" indent="0">
              <a:buNone/>
              <a:defRPr sz="1500" b="1">
                <a:solidFill>
                  <a:srgbClr val="AB003E"/>
                </a:solidFill>
              </a:defRPr>
            </a:lvl4pPr>
            <a:lvl5pPr marL="1371600" indent="0">
              <a:buNone/>
              <a:defRPr sz="1500" b="1">
                <a:solidFill>
                  <a:srgbClr val="AB003E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330868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6761094" cy="475562"/>
          </a:xfrm>
        </p:spPr>
        <p:txBody>
          <a:bodyPr anchor="t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FAC2E-E7DE-330A-6A55-BA2D05277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41A7454-432C-437D-9C73-5F8F2CA54F65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8D62-93C4-A279-72F9-226F3E9D1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9471-1B10-358F-6C4F-E874ECA81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F4753FD0-38DC-4CC9-B145-2CC0CF087D17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F306853C-7A66-AC28-8FBA-0D4538ED42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621128"/>
            <a:ext cx="6761094" cy="293466"/>
          </a:xfrm>
        </p:spPr>
        <p:txBody>
          <a:bodyPr/>
          <a:lstStyle>
            <a:lvl1pPr marL="0" indent="0">
              <a:buNone/>
              <a:defRPr sz="1500" b="1">
                <a:solidFill>
                  <a:srgbClr val="AB003E"/>
                </a:solidFill>
              </a:defRPr>
            </a:lvl1pPr>
            <a:lvl2pPr marL="342900" indent="0">
              <a:buNone/>
              <a:defRPr sz="1500" b="1">
                <a:solidFill>
                  <a:srgbClr val="AB003E"/>
                </a:solidFill>
              </a:defRPr>
            </a:lvl2pPr>
            <a:lvl3pPr marL="685800" indent="0">
              <a:buNone/>
              <a:defRPr sz="1500" b="1">
                <a:solidFill>
                  <a:srgbClr val="AB003E"/>
                </a:solidFill>
              </a:defRPr>
            </a:lvl3pPr>
            <a:lvl4pPr marL="1028700" indent="0">
              <a:buNone/>
              <a:defRPr sz="1500" b="1">
                <a:solidFill>
                  <a:srgbClr val="AB003E"/>
                </a:solidFill>
              </a:defRPr>
            </a:lvl4pPr>
            <a:lvl5pPr marL="1371600" indent="0">
              <a:buNone/>
              <a:defRPr sz="1500" b="1">
                <a:solidFill>
                  <a:srgbClr val="AB003E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300655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D28E26-D746-DBBC-FC12-B812C19091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9033300-9D4E-472F-B2BE-2013F02A1B97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EB8873-0FE2-EA72-0B9B-5D24B2CC9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BC2E3A-9DE2-5FEA-EEC2-07DE62CAC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C403DB1-BCFA-4BE8-9173-51D71B11EEB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05004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FAC2E-E7DE-330A-6A55-BA2D05277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5695A8C-ECC9-4F94-8C1E-7247DF2AD494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8D62-93C4-A279-72F9-226F3E9D1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9471-1B10-358F-6C4F-E874ECA81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F4753FD0-38DC-4CC9-B145-2CC0CF087D1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0472636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941FF9-A8F9-3B95-670C-0B50DAB79B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8598DBD-13A3-4609-829C-B2BD85015624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48B943-C62C-8762-A4EC-4AAC92EC2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3A5E3-DD64-5C4E-A58A-A52AC1B02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ED0F928-D38E-4EB9-82B7-D82EE5A1B4AA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746943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9C786E-CBE5-54D6-3B02-FAEF89F918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995ABB-349D-4884-A407-B6869ABDC0C2}" type="datetime1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020319-293B-6AAC-AF0D-C9B39D8F73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DCEC52-0D48-EB11-A272-189FDA897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80E3CFA-553C-4645-B992-A326DCDFF888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7449697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A59C39-1C55-C1E9-B373-F9842E1512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131E28C-9A00-452E-9D5D-298F7008815C}" type="datetime1">
              <a:rPr lang="en-GB" smtClean="0"/>
              <a:t>13/03/2026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252A77-8184-34A4-DF49-A23981F36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9CE1F8-8AB7-6549-6981-F08A061C3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E52872D-5631-45F8-B47B-9EF096112C8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6701823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C9820F-BF35-5512-65EF-C795A30D70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F7A2145-6E7F-4170-9CF0-DBD2D525D12D}" type="datetime1">
              <a:rPr lang="en-GB" smtClean="0"/>
              <a:t>13/03/2026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7394D4-E045-7775-3D5F-C59904AB0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81ADA3-E7A3-648D-C728-386927C20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F075E53-DC99-4DB8-B7B3-1D62BEDC982D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3147224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C172D4-4787-A2B6-7DC2-5E176596B9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595F080-F91A-4FEB-A51C-C2599F341B02}" type="datetime1">
              <a:rPr lang="en-GB" smtClean="0"/>
              <a:t>13/03/2026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BB99D6-0BE1-B53B-2A25-91C26CFF8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5117F3-AE50-06AE-4430-29CBCBB05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85F1E81C-DD64-4547-B9AA-606D6BB536F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438872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/>
        </p:nvCxnSpPr>
        <p:spPr>
          <a:xfrm>
            <a:off x="323850" y="2218065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3851" y="1062000"/>
            <a:ext cx="994286" cy="108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2311146"/>
            <a:ext cx="2592388" cy="1087477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400"/>
            </a:lvl1pPr>
            <a:lvl2pPr>
              <a:spcBef>
                <a:spcPts val="0"/>
              </a:spcBef>
              <a:spcAft>
                <a:spcPts val="200"/>
              </a:spcAft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F94F79-9F1F-5A9B-E48D-86152ECB51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513570D-DD92-4262-805B-A4CBF0F97D3C}" type="datetime1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76F107-0479-3701-6276-78A48BF73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45E245-466C-8372-7DC1-DC7466D81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618179F4-BFAB-4673-9ABA-F5C79B4B22E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124887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7B0A5-F7E1-C66E-3535-766C495183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DE77795-6EE6-4861-B5E2-E98D78A4327A}" type="datetime1">
              <a:rPr lang="en-GB" smtClean="0"/>
              <a:t>13/03/2026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D55D9-9A9A-A9E2-53DB-796DB5A2B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768E23-90DD-67C6-544B-9508774AF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BB7063C4-41F3-4CD8-BE96-1E0A6A6512E8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2662586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EC255-B4FF-447F-3753-05ED683783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FFD53D6-E0B4-4C91-9E91-91C90ECEFBF5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F82F30-543A-F7E1-E141-BE724F289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515FC6-6BE7-E595-9090-52B3A5C9C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667A2772-9680-4C55-978C-9F42929E8DC9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73654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21B6C0-98E7-027C-3D9A-36EAA8D9ED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D041A74-84EF-40A5-829B-36E979D49939}" type="datetime1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D2691-3ED3-99B9-B176-7FB9A2A4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977091-D713-14AF-483E-885286239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D5211D9B-01C1-46D3-B1F3-AD61946DFF0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10981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/>
        </p:nvCxnSpPr>
        <p:spPr>
          <a:xfrm>
            <a:off x="323850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2154435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90" indent="-20997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46" indent="-209974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3851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/>
        </p:nvCxnSpPr>
        <p:spPr>
          <a:xfrm>
            <a:off x="3276600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6600" y="2154435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90" indent="-20997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46" indent="-209974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601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/>
        </p:nvCxnSpPr>
        <p:spPr>
          <a:xfrm>
            <a:off x="6227762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27762" y="2154435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90" indent="-20997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46" indent="-209974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27763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228725" y="1062000"/>
            <a:ext cx="1687514" cy="1025922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181475" y="1062000"/>
            <a:ext cx="1687514" cy="1025922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34225" y="1062000"/>
            <a:ext cx="1687514" cy="1025922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4696555" y="696054"/>
            <a:ext cx="5143500" cy="3751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flipV="1">
            <a:off x="4000500" y="1392109"/>
            <a:ext cx="5143500" cy="375139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1573" y="2078323"/>
            <a:ext cx="4752427" cy="3065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/>
        </p:nvSpPr>
        <p:spPr>
          <a:xfrm>
            <a:off x="8505645" y="4778375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0"/>
            <a:ext cx="55434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0" y="267573"/>
            <a:ext cx="554462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898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084275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4" y="1062039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2592239" cy="2154244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1"/>
            <a:ext cx="2592000" cy="2154244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9" y="4740425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8988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marR="0" lvl="2" indent="-90486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marR="0" lvl="2" indent="-90486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marR="0" lvl="2" indent="-90486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6" y="2140327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859396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898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1" y="1068388"/>
            <a:ext cx="5544621" cy="1877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marR="0" lvl="2" indent="-90486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marR="0" lvl="2" indent="-90486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marR="0" lvl="2" indent="-90486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marR="0" lvl="2" indent="-90486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47743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1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9" y="4740425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898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34069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149139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5508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05490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79" y="255601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80393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6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4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18310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1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08468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4068613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1388" y="1062500"/>
            <a:ext cx="4068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1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35028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1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79" y="255601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4606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6" y="4778376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409332821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2646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2"/>
            <a:ext cx="55434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0" y="267575"/>
            <a:ext cx="554462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40378"/>
            <a:ext cx="7195415" cy="169325"/>
          </a:xfrm>
        </p:spPr>
        <p:txBody>
          <a:bodyPr/>
          <a:lstStyle>
            <a:lvl1pPr>
              <a:defRPr b="0"/>
            </a:lvl1pPr>
          </a:lstStyle>
          <a:p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4" marR="0" lvl="2" indent="-90484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4" marR="0" lvl="2" indent="-90484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4" marR="0" lvl="2" indent="-90484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4" marR="0" lvl="2" indent="-90484" algn="l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4" marR="0" lvl="2" indent="-90484" algn="l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4" marR="0" lvl="2" indent="-90484" algn="l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3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4" marR="0" lvl="2" indent="-90484" algn="l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4" marR="0" lvl="2" indent="-90484" algn="l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5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3801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02250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0"/>
            <a:ext cx="55434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0" y="267573"/>
            <a:ext cx="554462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8108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4068613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1388" y="1062500"/>
            <a:ext cx="4068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264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4068613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52975" y="1062038"/>
            <a:ext cx="4051937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656597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3" y="1062038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67863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4068613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52975" y="1062038"/>
            <a:ext cx="4051937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6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961" y="1062500"/>
            <a:ext cx="2592000" cy="156966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5847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2592000" cy="2664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0425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999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8000" y="1062500"/>
            <a:ext cx="2592000" cy="2664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0674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0" y="1068388"/>
            <a:ext cx="5544621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762508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8000" y="1062500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5544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9206425" y="216765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704075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6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8000" y="1062500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9206425" y="216765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227082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0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52090628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554355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9206425" y="2167651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877887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0"/>
            <a:ext cx="2592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323850" y="2218065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3851" y="1062000"/>
            <a:ext cx="994286" cy="108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2311146"/>
            <a:ext cx="2592388" cy="1087477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400"/>
            </a:lvl1pPr>
            <a:lvl2pPr>
              <a:spcBef>
                <a:spcPts val="0"/>
              </a:spcBef>
              <a:spcAft>
                <a:spcPts val="200"/>
              </a:spcAft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0526773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323850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2154435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90" indent="-20997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46" indent="-209974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3851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3276600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6600" y="2154435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90" indent="-20997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46" indent="-209974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601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6227762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27762" y="2154435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90" indent="-20997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46" indent="-209974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27763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228725" y="1062000"/>
            <a:ext cx="1687514" cy="856645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181475" y="1062000"/>
            <a:ext cx="1687514" cy="856645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34225" y="1062000"/>
            <a:ext cx="1687514" cy="856645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929914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3" y="1062038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043292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3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1207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685383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/>
              <a:t> </a:t>
            </a:r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63062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71221087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5" name="Round Diagonal Corner Rectangle 4">
            <a:extLst>
              <a:ext uri="{FF2B5EF4-FFF2-40B4-BE49-F238E27FC236}">
                <a16:creationId xmlns:a16="http://schemas.microsoft.com/office/drawing/2014/main" id="{37609B83-716F-4C19-B524-DF1CE466DE04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44AFBBA-7610-4A43-B583-B8E6F6343F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3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32675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053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0280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5" y="4778375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5448929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BEF70D-6191-627B-B89B-414775FC08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E1882C-AB03-6EA2-5F3F-8822E6A1A9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D96EBB-3A80-23DD-345A-9D10B98A6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7CE0E-D4AC-49C7-8DD6-6F40969CFE60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8E951-2621-8451-EC76-82DE7422C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4D5745-EFE4-8073-3152-EBBFDD4F8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0152D-F2A9-4719-A38A-C5B8C4937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1133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6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961" y="1062500"/>
            <a:ext cx="2592000" cy="156966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B65D9A56-8D10-4850-94E8-B23C70D934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54070524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>
            <a:extLst>
              <a:ext uri="{FF2B5EF4-FFF2-40B4-BE49-F238E27FC236}">
                <a16:creationId xmlns:a16="http://schemas.microsoft.com/office/drawing/2014/main" id="{CEBE95FD-AF3D-4835-80C1-693172018490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5" name="Guidance note">
              <a:extLst>
                <a:ext uri="{FF2B5EF4-FFF2-40B4-BE49-F238E27FC236}">
                  <a16:creationId xmlns:a16="http://schemas.microsoft.com/office/drawing/2014/main" id="{03ACCECA-3C5D-4518-A9D9-611919DD65B5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C291FB9-9294-4E9C-B223-86798E558B7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7" name="Picture 3">
                <a:extLst>
                  <a:ext uri="{FF2B5EF4-FFF2-40B4-BE49-F238E27FC236}">
                    <a16:creationId xmlns:a16="http://schemas.microsoft.com/office/drawing/2014/main" id="{EB45D769-E6B9-4D62-B025-29E8927171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8" name="Rounded Rectangle 20">
                <a:extLst>
                  <a:ext uri="{FF2B5EF4-FFF2-40B4-BE49-F238E27FC236}">
                    <a16:creationId xmlns:a16="http://schemas.microsoft.com/office/drawing/2014/main" id="{A266E787-383D-491C-BDDE-E1B35AF9B01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5543400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2780" y="267574"/>
            <a:ext cx="554462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4F28DA35-A04B-4841-92C7-DD6BEC0FB5F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5095091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>
            <a:extLst>
              <a:ext uri="{FF2B5EF4-FFF2-40B4-BE49-F238E27FC236}">
                <a16:creationId xmlns:a16="http://schemas.microsoft.com/office/drawing/2014/main" id="{E9FF1CC9-2B45-450E-979D-0E366B0C2471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6" name="Guidance note">
              <a:extLst>
                <a:ext uri="{FF2B5EF4-FFF2-40B4-BE49-F238E27FC236}">
                  <a16:creationId xmlns:a16="http://schemas.microsoft.com/office/drawing/2014/main" id="{42EB248B-8E38-42E8-AD4E-7E5BF80419B7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E66EB6A-72B0-4F86-AA66-EA42A2906CA7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8" name="Picture 3">
                <a:extLst>
                  <a:ext uri="{FF2B5EF4-FFF2-40B4-BE49-F238E27FC236}">
                    <a16:creationId xmlns:a16="http://schemas.microsoft.com/office/drawing/2014/main" id="{7540A4EC-107D-4105-893B-B51B133F60B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9" name="Rounded Rectangle 20">
                <a:extLst>
                  <a:ext uri="{FF2B5EF4-FFF2-40B4-BE49-F238E27FC236}">
                    <a16:creationId xmlns:a16="http://schemas.microsoft.com/office/drawing/2014/main" id="{D877DCF3-8040-40E7-8AE8-C9CA760EB4F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3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4000" y="1062501"/>
            <a:ext cx="4068613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751388" y="1062501"/>
            <a:ext cx="4068000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28556DC7-B1DC-4F34-BC2E-0D2B0092CC1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3237156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>
            <a:extLst>
              <a:ext uri="{FF2B5EF4-FFF2-40B4-BE49-F238E27FC236}">
                <a16:creationId xmlns:a16="http://schemas.microsoft.com/office/drawing/2014/main" id="{7D29B373-DD60-478E-8346-C6AF08233DE2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6" name="Guidance note">
              <a:extLst>
                <a:ext uri="{FF2B5EF4-FFF2-40B4-BE49-F238E27FC236}">
                  <a16:creationId xmlns:a16="http://schemas.microsoft.com/office/drawing/2014/main" id="{B8A4D1B4-C523-4399-A090-1132CA7D5F87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898FC3A-C278-473F-9109-EBFE9F3B9ED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8" name="Picture 3">
                <a:extLst>
                  <a:ext uri="{FF2B5EF4-FFF2-40B4-BE49-F238E27FC236}">
                    <a16:creationId xmlns:a16="http://schemas.microsoft.com/office/drawing/2014/main" id="{13A441C8-55A5-4993-BE87-C0B4D3B2363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9" name="Rounded Rectangle 20">
                <a:extLst>
                  <a:ext uri="{FF2B5EF4-FFF2-40B4-BE49-F238E27FC236}">
                    <a16:creationId xmlns:a16="http://schemas.microsoft.com/office/drawing/2014/main" id="{4170DF7F-F9E1-4A02-B402-574C7370E201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E6404D76-92EE-4A93-A319-D6BF9AD12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5913" y="2140744"/>
            <a:ext cx="2031206" cy="342447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2138" tIns="42138" rIns="42138" bIns="42138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9063" indent="-119063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mage placeholders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‘picture placeholder icon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avigate to the file and insert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pdating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image you wish to chan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ete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llow the steps as above to insert an image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pp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o to ‘Format’ tab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Crop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You can now move the image within the placeholder.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siz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ght-click on the p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4000" y="1062501"/>
            <a:ext cx="4068613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752976" y="1062039"/>
            <a:ext cx="4051937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9EC18B67-FE27-4FF0-9A6C-45145B2974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433824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3FB24A23-EAD6-4597-A006-4FC4131865A1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46C0D8FD-E35B-42BC-B0F3-2ED4A935B5C9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4ED7E8-B8ED-411C-A4B4-2F467EF7E4D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47CCDDFE-3B31-4950-85F6-1F2786735E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2" name="Rounded Rectangle 20">
                <a:extLst>
                  <a:ext uri="{FF2B5EF4-FFF2-40B4-BE49-F238E27FC236}">
                    <a16:creationId xmlns:a16="http://schemas.microsoft.com/office/drawing/2014/main" id="{E2B8FCBA-49BD-486C-B739-D4BC574369FC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3" name="Round Diagonal Corner Rectangle 4">
            <a:extLst>
              <a:ext uri="{FF2B5EF4-FFF2-40B4-BE49-F238E27FC236}">
                <a16:creationId xmlns:a16="http://schemas.microsoft.com/office/drawing/2014/main" id="{50B69F08-2327-4E00-87A5-83393EA00D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5913" y="2140744"/>
            <a:ext cx="2031206" cy="342447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2138" tIns="42138" rIns="42138" bIns="42138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9063" indent="-119063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mage placeholders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‘picture placeholder icon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avigate to the file and insert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pdating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image you wish to chan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ete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llow the steps as above to insert an image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pp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o to ‘Format’ tab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Crop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You can now move the image within the placeholder.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siz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ght-click on the p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227764" y="1062039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2592239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2766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88DCF47D-3C15-497C-BB73-EE26538EA84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28554337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344369AD-F294-435A-9BEB-386E0A7E64BA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9D5BE8F0-1D35-4502-9340-6EC2CF320A39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A1E321C-3922-4B5C-BD38-9A776733A157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330E8243-886C-4EA0-B48D-870556A022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97D8AD54-E1AC-4574-B0C7-0BED66A86A4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2592239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2766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8961" y="1062500"/>
            <a:ext cx="2592000" cy="156966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65CEF54D-C4F9-4C35-827A-C74E37F381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0378308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708DF115-3438-43A3-A722-3D2213F77E8C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F00E071D-EB03-4D9F-BC35-DF46B8425850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58B4F0-63F5-47FF-8822-5F4EDB94EA9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DCEC74F1-2AD2-4ACB-8EAC-E221743359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F695D3EF-0C3A-4F23-9108-01B3172F489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2592000" cy="2664000"/>
          </a:xfrm>
          <a:solidFill>
            <a:srgbClr val="0073CD"/>
          </a:solidFill>
        </p:spPr>
        <p:txBody>
          <a:bodyPr lIns="144000" tIns="108000" rIns="144000" bIns="108000">
            <a:noAutofit/>
          </a:bodyPr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276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8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75E8FF36-8B8E-4209-9C4B-742AEAB58E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22184077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AD54E39D-4502-4B71-9BAC-9D990D05E575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2275EE2E-7418-4841-AD2B-F1844008C9EE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2E580F6-AD58-4587-9060-6D52C9662D3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D153699B-C3BA-4058-BD93-3122AC8AB2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FD077473-B42D-4443-A85F-0631EA0068E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5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276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23999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8000" y="1062500"/>
            <a:ext cx="2592000" cy="2664000"/>
          </a:xfrm>
          <a:solidFill>
            <a:srgbClr val="0073CD"/>
          </a:solidFill>
        </p:spPr>
        <p:txBody>
          <a:bodyPr lIns="144000" tIns="108000" rIns="144000" bIns="108000">
            <a:noAutofit/>
          </a:bodyPr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4B50616-F31D-4EC0-ADB2-A7C48E0D99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4941888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741B86E1-F060-41AF-A0FE-A916056DDFFE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2D911D34-2AE4-4E4D-8526-CF3D859BE4FC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01D3F24-E29A-4203-97C9-95AE22BE747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BDDAB90E-8C89-49D3-B05A-77422CF9E8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15834896-F0C4-44A6-84AB-67D53B5906B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2781" y="1068389"/>
            <a:ext cx="5544621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68E33F0A-83AC-444B-AD47-3339285F00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43694351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>
            <a:extLst>
              <a:ext uri="{FF2B5EF4-FFF2-40B4-BE49-F238E27FC236}">
                <a16:creationId xmlns:a16="http://schemas.microsoft.com/office/drawing/2014/main" id="{1CB41FDB-4B0B-4341-AD97-4845A36EB555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828D6EBE-BB79-4158-A855-6599D7018FF3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1BFC35F-CEB3-4615-8E0B-D14B052770C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46E5B0D7-72F2-4062-9207-0D13B2854B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F8D0E13F-130E-411B-AD16-69543A033EC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1" name="Guidance note">
            <a:extLst>
              <a:ext uri="{FF2B5EF4-FFF2-40B4-BE49-F238E27FC236}">
                <a16:creationId xmlns:a16="http://schemas.microsoft.com/office/drawing/2014/main" id="{D867A262-76A5-4A29-AA3C-AF9ECD26A6A5}"/>
              </a:ext>
            </a:extLst>
          </p:cNvPr>
          <p:cNvSpPr/>
          <p:nvPr/>
        </p:nvSpPr>
        <p:spPr>
          <a:xfrm>
            <a:off x="9205913" y="2168129"/>
            <a:ext cx="203001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>
            <a:spAutoFit/>
          </a:bodyPr>
          <a:lstStyle/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6228000" y="1062501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noProof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3999" y="1062501"/>
            <a:ext cx="5544000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9481A56-AEBF-4217-861E-AC40F83695E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4054327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2592000" cy="2664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C0C06469-9D5A-492A-A1C6-5118393E2113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80B33C43-3335-4C2D-85F8-A5946902C3D4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9F82789-E6AF-44DE-9BE9-4182124EC14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3913C01A-386B-442D-B71F-7B1327E2D3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A4CD3015-E717-473E-AD7F-4926E8E984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1" name="Guidance note">
            <a:extLst>
              <a:ext uri="{FF2B5EF4-FFF2-40B4-BE49-F238E27FC236}">
                <a16:creationId xmlns:a16="http://schemas.microsoft.com/office/drawing/2014/main" id="{A592E840-837A-4A27-9CC7-D7E69F7ECBA0}"/>
              </a:ext>
            </a:extLst>
          </p:cNvPr>
          <p:cNvSpPr/>
          <p:nvPr/>
        </p:nvSpPr>
        <p:spPr>
          <a:xfrm>
            <a:off x="9205913" y="2168129"/>
            <a:ext cx="203001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>
            <a:spAutoFit/>
          </a:bodyPr>
          <a:lstStyle/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23999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276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6228000" y="1062501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034B98CB-FB28-420B-A1A8-B57EC05B51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24187648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uidance note">
            <a:extLst>
              <a:ext uri="{FF2B5EF4-FFF2-40B4-BE49-F238E27FC236}">
                <a16:creationId xmlns:a16="http://schemas.microsoft.com/office/drawing/2014/main" id="{F27B0888-5807-4D5C-A5CE-8A5EF9F1D4C2}"/>
              </a:ext>
            </a:extLst>
          </p:cNvPr>
          <p:cNvSpPr/>
          <p:nvPr/>
        </p:nvSpPr>
        <p:spPr>
          <a:xfrm>
            <a:off x="9205913" y="1"/>
            <a:ext cx="203001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>
            <a:spAutoFit/>
          </a:bodyPr>
          <a:lstStyle/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323850" y="1062501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86C11075-529F-45B0-AEC1-943C83C846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69860204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>
            <a:extLst>
              <a:ext uri="{FF2B5EF4-FFF2-40B4-BE49-F238E27FC236}">
                <a16:creationId xmlns:a16="http://schemas.microsoft.com/office/drawing/2014/main" id="{791B6BE5-C725-4441-8A72-651056A196BC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7" name="Guidance note">
              <a:extLst>
                <a:ext uri="{FF2B5EF4-FFF2-40B4-BE49-F238E27FC236}">
                  <a16:creationId xmlns:a16="http://schemas.microsoft.com/office/drawing/2014/main" id="{F3522373-D273-4F49-9ED0-26F28957C786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9F94633-53EA-4DE4-A8D2-B8200A98E83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858A0E1C-5BB7-4681-98F4-3D35E19135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0" name="Rounded Rectangle 20">
                <a:extLst>
                  <a:ext uri="{FF2B5EF4-FFF2-40B4-BE49-F238E27FC236}">
                    <a16:creationId xmlns:a16="http://schemas.microsoft.com/office/drawing/2014/main" id="{3B5B95F5-0E03-4A2C-9A57-0575B101400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1" name="Guidance note">
            <a:extLst>
              <a:ext uri="{FF2B5EF4-FFF2-40B4-BE49-F238E27FC236}">
                <a16:creationId xmlns:a16="http://schemas.microsoft.com/office/drawing/2014/main" id="{0C799D27-7E89-4042-B169-B87CCA96B517}"/>
              </a:ext>
            </a:extLst>
          </p:cNvPr>
          <p:cNvSpPr/>
          <p:nvPr/>
        </p:nvSpPr>
        <p:spPr>
          <a:xfrm>
            <a:off x="9205913" y="2168129"/>
            <a:ext cx="203001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>
            <a:spAutoFit/>
          </a:bodyPr>
          <a:lstStyle/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lvl="2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6" lvl="2" indent="-90486" defTabSz="914378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  <p:sp>
        <p:nvSpPr>
          <p:cNvPr id="19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323850" y="1062501"/>
            <a:ext cx="554355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8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25EF201-9EFE-42AD-BEDB-AD8324F5F89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42834946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75F30AF-0F7A-4918-B76F-9B3F2E566FF1}"/>
              </a:ext>
            </a:extLst>
          </p:cNvPr>
          <p:cNvCxnSpPr>
            <a:cxnSpLocks/>
          </p:cNvCxnSpPr>
          <p:nvPr/>
        </p:nvCxnSpPr>
        <p:spPr>
          <a:xfrm>
            <a:off x="323850" y="2218135"/>
            <a:ext cx="259199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8">
            <a:extLst>
              <a:ext uri="{FF2B5EF4-FFF2-40B4-BE49-F238E27FC236}">
                <a16:creationId xmlns:a16="http://schemas.microsoft.com/office/drawing/2014/main" id="{299F9D14-C4FB-466E-B47D-60D02744293D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9" name="Guidance note">
              <a:extLst>
                <a:ext uri="{FF2B5EF4-FFF2-40B4-BE49-F238E27FC236}">
                  <a16:creationId xmlns:a16="http://schemas.microsoft.com/office/drawing/2014/main" id="{6FA5564B-780B-4DCB-ACC6-938F3748C404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BB94F4E-5148-4FFE-BAF5-31999CF367C2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3" name="Picture 3">
                <a:extLst>
                  <a:ext uri="{FF2B5EF4-FFF2-40B4-BE49-F238E27FC236}">
                    <a16:creationId xmlns:a16="http://schemas.microsoft.com/office/drawing/2014/main" id="{39B13AF2-54BA-48AD-A29D-C926D29841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4" name="Rounded Rectangle 20">
                <a:extLst>
                  <a:ext uri="{FF2B5EF4-FFF2-40B4-BE49-F238E27FC236}">
                    <a16:creationId xmlns:a16="http://schemas.microsoft.com/office/drawing/2014/main" id="{134411E2-75A9-4FE1-99FF-F5782EA3305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15" name="Round Diagonal Corner Rectangle 4">
            <a:extLst>
              <a:ext uri="{FF2B5EF4-FFF2-40B4-BE49-F238E27FC236}">
                <a16:creationId xmlns:a16="http://schemas.microsoft.com/office/drawing/2014/main" id="{7DCCCFD2-B4F9-450C-9C4B-D31AAD88B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5913" y="2140744"/>
            <a:ext cx="2031206" cy="342447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2138" tIns="42138" rIns="42138" bIns="42138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9063" indent="-119063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mage placeholders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‘picture placeholder icon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avigate to the file and insert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pdating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image you wish to chan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ete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llow the steps as above to insert an image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pp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o to ‘Format’ tab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Crop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You can now move the image within the placeholder.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siz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ght-click on the p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276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8000" y="1062501"/>
            <a:ext cx="2592000" cy="21544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323851" y="1062000"/>
            <a:ext cx="994286" cy="108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323850" y="2311147"/>
            <a:ext cx="2592388" cy="1100398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400"/>
            </a:lvl1pPr>
            <a:lvl2pPr>
              <a:spcBef>
                <a:spcPts val="0"/>
              </a:spcBef>
              <a:spcAft>
                <a:spcPts val="200"/>
              </a:spcAft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CB79D41-D455-497C-B77E-4FA020773B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4742569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E2223C-580C-406B-9EED-118CAE21028A}"/>
              </a:ext>
            </a:extLst>
          </p:cNvPr>
          <p:cNvCxnSpPr>
            <a:cxnSpLocks/>
          </p:cNvCxnSpPr>
          <p:nvPr/>
        </p:nvCxnSpPr>
        <p:spPr>
          <a:xfrm>
            <a:off x="323850" y="2060972"/>
            <a:ext cx="259199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E1A3FAC-3C1F-41AD-AE46-720C4E2F71F9}"/>
              </a:ext>
            </a:extLst>
          </p:cNvPr>
          <p:cNvCxnSpPr>
            <a:cxnSpLocks/>
          </p:cNvCxnSpPr>
          <p:nvPr/>
        </p:nvCxnSpPr>
        <p:spPr>
          <a:xfrm>
            <a:off x="3276600" y="2060972"/>
            <a:ext cx="259199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46B4936-4157-43AE-9BEA-C449CC056DA8}"/>
              </a:ext>
            </a:extLst>
          </p:cNvPr>
          <p:cNvCxnSpPr>
            <a:cxnSpLocks/>
          </p:cNvCxnSpPr>
          <p:nvPr/>
        </p:nvCxnSpPr>
        <p:spPr>
          <a:xfrm>
            <a:off x="6228160" y="2060972"/>
            <a:ext cx="259199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0">
            <a:extLst>
              <a:ext uri="{FF2B5EF4-FFF2-40B4-BE49-F238E27FC236}">
                <a16:creationId xmlns:a16="http://schemas.microsoft.com/office/drawing/2014/main" id="{FE899942-E37A-43F6-9BFE-77249C69B5EE}"/>
              </a:ext>
            </a:extLst>
          </p:cNvPr>
          <p:cNvGrpSpPr>
            <a:grpSpLocks/>
          </p:cNvGrpSpPr>
          <p:nvPr/>
        </p:nvGrpSpPr>
        <p:grpSpPr bwMode="auto">
          <a:xfrm>
            <a:off x="9205913" y="1"/>
            <a:ext cx="2030016" cy="2104028"/>
            <a:chOff x="3528102" y="847657"/>
            <a:chExt cx="2029736" cy="2103905"/>
          </a:xfrm>
        </p:grpSpPr>
        <p:sp>
          <p:nvSpPr>
            <p:cNvPr id="16" name="Guidance note">
              <a:extLst>
                <a:ext uri="{FF2B5EF4-FFF2-40B4-BE49-F238E27FC236}">
                  <a16:creationId xmlns:a16="http://schemas.microsoft.com/office/drawing/2014/main" id="{08033908-3084-4E06-A75D-BCDDE2963FB0}"/>
                </a:ext>
              </a:extLst>
            </p:cNvPr>
            <p:cNvSpPr/>
            <p:nvPr/>
          </p:nvSpPr>
          <p:spPr>
            <a:xfrm>
              <a:off x="3528102" y="847657"/>
              <a:ext cx="2029736" cy="210390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36000" tIns="36000" rIns="36000" bIns="36000">
              <a:spAutoFit/>
            </a:bodyPr>
            <a:lstStyle/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00" b="1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6" lvl="2" indent="-90486" defTabSz="914378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>
                  <a:solidFill>
                    <a:prstClr val="black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70ABC66-1FE2-4D78-A636-82CD71CCE90A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8" name="Picture 3">
                <a:extLst>
                  <a:ext uri="{FF2B5EF4-FFF2-40B4-BE49-F238E27FC236}">
                    <a16:creationId xmlns:a16="http://schemas.microsoft.com/office/drawing/2014/main" id="{5FE7C1A5-EAA5-46D7-96F4-472632335A2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19" name="Rounded Rectangle 20">
                <a:extLst>
                  <a:ext uri="{FF2B5EF4-FFF2-40B4-BE49-F238E27FC236}">
                    <a16:creationId xmlns:a16="http://schemas.microsoft.com/office/drawing/2014/main" id="{572CF937-8D7E-491C-96CD-538D966547D6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4378" eaLnBrk="1" fontAlgn="auto" hangingPunct="1">
                  <a:spcBef>
                    <a:spcPts val="0"/>
                  </a:spcBef>
                  <a:spcAft>
                    <a:spcPts val="273"/>
                  </a:spcAft>
                  <a:defRPr/>
                </a:pPr>
                <a:endParaRPr lang="en-GB" sz="600">
                  <a:solidFill>
                    <a:prstClr val="black"/>
                  </a:solidFill>
                  <a:latin typeface="Calibri" panose="020F0502020204030204"/>
                  <a:ea typeface="+mn-ea"/>
                </a:endParaRPr>
              </a:p>
            </p:txBody>
          </p:sp>
        </p:grpSp>
      </p:grpSp>
      <p:sp>
        <p:nvSpPr>
          <p:cNvPr id="20" name="Round Diagonal Corner Rectangle 4">
            <a:extLst>
              <a:ext uri="{FF2B5EF4-FFF2-40B4-BE49-F238E27FC236}">
                <a16:creationId xmlns:a16="http://schemas.microsoft.com/office/drawing/2014/main" id="{8948CD66-B8C5-4D22-AEC3-6BAB18ED2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5913" y="2140744"/>
            <a:ext cx="2031206" cy="342447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2138" tIns="42138" rIns="42138" bIns="42138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9063" indent="-119063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mage placeholders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‘picture placeholder icon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avigate to the file and insert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pdating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ick on the image you wish to chan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lete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llow the steps as above to insert an image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pp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the im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o to ‘Format’ tab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Crop’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You can now move the image within the placeholder.</a:t>
            </a:r>
          </a:p>
          <a:p>
            <a:pPr eaLnBrk="1" hangingPunct="1"/>
            <a:r>
              <a:rPr lang="en-GB" altLang="en-US" sz="6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sizing image</a:t>
            </a:r>
          </a:p>
          <a:p>
            <a:pPr marL="0" lvl="1" eaLnBrk="1" hangingPunct="1"/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ght-click on the page</a:t>
            </a:r>
          </a:p>
          <a:p>
            <a:pPr lvl="2" eaLnBrk="1" hangingPunct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altLang="en-US" sz="6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323850" y="2154436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85" indent="-20996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36" indent="-209969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323852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3276600" y="2154436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85" indent="-20996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36" indent="-209969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26"/>
          </p:nvPr>
        </p:nvSpPr>
        <p:spPr>
          <a:xfrm>
            <a:off x="3276602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3" name="Text Placeholder 10"/>
          <p:cNvSpPr>
            <a:spLocks noGrp="1"/>
          </p:cNvSpPr>
          <p:nvPr>
            <p:ph type="body" sz="quarter" idx="27"/>
          </p:nvPr>
        </p:nvSpPr>
        <p:spPr>
          <a:xfrm>
            <a:off x="6227763" y="2154436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spcBef>
                <a:spcPts val="6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/>
            </a:lvl3pPr>
            <a:lvl4pPr marL="213685" indent="-20996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419936" indent="-209969">
              <a:spcBef>
                <a:spcPts val="6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28"/>
          </p:nvPr>
        </p:nvSpPr>
        <p:spPr>
          <a:xfrm>
            <a:off x="6227764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32"/>
          </p:nvPr>
        </p:nvSpPr>
        <p:spPr>
          <a:xfrm>
            <a:off x="1228726" y="1062001"/>
            <a:ext cx="1687514" cy="1038890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33"/>
          </p:nvPr>
        </p:nvSpPr>
        <p:spPr>
          <a:xfrm>
            <a:off x="4181476" y="1062001"/>
            <a:ext cx="1687514" cy="1038890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34"/>
          </p:nvPr>
        </p:nvSpPr>
        <p:spPr>
          <a:xfrm>
            <a:off x="7134226" y="1062001"/>
            <a:ext cx="1687514" cy="1038890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80A0BC77-1D8F-4515-8D12-868683CCEE3F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36156858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7">
            <a:extLst>
              <a:ext uri="{FF2B5EF4-FFF2-40B4-BE49-F238E27FC236}">
                <a16:creationId xmlns:a16="http://schemas.microsoft.com/office/drawing/2014/main" id="{E61FB70F-D205-4AFE-8E92-4A4151CA515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4633912"/>
            <a:ext cx="1409700" cy="290513"/>
          </a:xfrm>
          <a:prstGeom prst="rect">
            <a:avLst/>
          </a:prstGeom>
        </p:spPr>
      </p:pic>
      <p:pic>
        <p:nvPicPr>
          <p:cNvPr id="5" name="Picture 8">
            <a:extLst>
              <a:ext uri="{FF2B5EF4-FFF2-40B4-BE49-F238E27FC236}">
                <a16:creationId xmlns:a16="http://schemas.microsoft.com/office/drawing/2014/main" id="{CD716A24-EB1B-48ED-A43E-9BD62E517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2341" y="0"/>
            <a:ext cx="3751659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30196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589438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2FFFED6D-2A81-4673-9DB4-C79D1DDB34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0500" y="1391841"/>
            <a:ext cx="5143500" cy="3751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phic 8">
            <a:extLst>
              <a:ext uri="{FF2B5EF4-FFF2-40B4-BE49-F238E27FC236}">
                <a16:creationId xmlns:a16="http://schemas.microsoft.com/office/drawing/2014/main" id="{406565B5-8263-423E-9EFE-8030E725655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4633912"/>
            <a:ext cx="1409700" cy="290513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30196" y="1058864"/>
            <a:ext cx="4033839" cy="868039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30196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8066435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7">
            <a:extLst>
              <a:ext uri="{FF2B5EF4-FFF2-40B4-BE49-F238E27FC236}">
                <a16:creationId xmlns:a16="http://schemas.microsoft.com/office/drawing/2014/main" id="{E29092E3-B1DA-43DA-8096-931E9ADDF27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4633912"/>
            <a:ext cx="1409700" cy="290513"/>
          </a:xfrm>
          <a:prstGeom prst="rect">
            <a:avLst/>
          </a:prstGeom>
        </p:spPr>
      </p:pic>
      <p:pic>
        <p:nvPicPr>
          <p:cNvPr id="5" name="Picture 8">
            <a:extLst>
              <a:ext uri="{FF2B5EF4-FFF2-40B4-BE49-F238E27FC236}">
                <a16:creationId xmlns:a16="http://schemas.microsoft.com/office/drawing/2014/main" id="{EFBB92FC-DE0F-49D0-837B-8CD96F3B0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305" b="53487"/>
          <a:stretch>
            <a:fillRect/>
          </a:stretch>
        </p:blipFill>
        <p:spPr bwMode="auto">
          <a:xfrm>
            <a:off x="4391025" y="2078832"/>
            <a:ext cx="4752975" cy="306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0194" y="2536529"/>
            <a:ext cx="2524125" cy="1754326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17496" y="-15247096"/>
            <a:ext cx="2598742" cy="17697152"/>
          </a:xfrm>
        </p:spPr>
        <p:txBody>
          <a:bodyPr anchor="b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63579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C2E70FB-405D-4BCA-A3F1-F76B3BD1F437}"/>
              </a:ext>
            </a:extLst>
          </p:cNvPr>
          <p:cNvSpPr txBox="1">
            <a:spLocks/>
          </p:cNvSpPr>
          <p:nvPr/>
        </p:nvSpPr>
        <p:spPr>
          <a:xfrm>
            <a:off x="8505825" y="4777978"/>
            <a:ext cx="638175" cy="36552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eaLnBrk="1" hangingPunct="1">
              <a:defRPr/>
            </a:pPr>
            <a:fld id="{9172CFBE-7920-4231-8356-F3DE248350FA}" type="slidenum">
              <a:rPr sz="600"/>
              <a:pPr eaLnBrk="1" hangingPunct="1">
                <a:defRPr/>
              </a:pPr>
              <a:t>‹#›</a:t>
            </a:fld>
            <a:endParaRPr sz="600"/>
          </a:p>
        </p:txBody>
      </p:sp>
      <p:grpSp>
        <p:nvGrpSpPr>
          <p:cNvPr id="3" name="Group 8">
            <a:extLst>
              <a:ext uri="{FF2B5EF4-FFF2-40B4-BE49-F238E27FC236}">
                <a16:creationId xmlns:a16="http://schemas.microsoft.com/office/drawing/2014/main" id="{810F87F4-E826-4F81-BA6C-55BB603063BB}"/>
              </a:ext>
            </a:extLst>
          </p:cNvPr>
          <p:cNvGrpSpPr>
            <a:grpSpLocks/>
          </p:cNvGrpSpPr>
          <p:nvPr/>
        </p:nvGrpSpPr>
        <p:grpSpPr bwMode="auto">
          <a:xfrm>
            <a:off x="2105025" y="2051448"/>
            <a:ext cx="4933950" cy="1040606"/>
            <a:chOff x="2910342" y="325575"/>
            <a:chExt cx="5928968" cy="1249653"/>
          </a:xfrm>
        </p:grpSpPr>
        <p:sp>
          <p:nvSpPr>
            <p:cNvPr id="4" name="Freeform: Shape 9">
              <a:extLst>
                <a:ext uri="{FF2B5EF4-FFF2-40B4-BE49-F238E27FC236}">
                  <a16:creationId xmlns:a16="http://schemas.microsoft.com/office/drawing/2014/main" id="{48E1C3F6-4B0D-4156-98C3-BF6A92678A84}"/>
                </a:ext>
              </a:extLst>
            </p:cNvPr>
            <p:cNvSpPr>
              <a:spLocks/>
            </p:cNvSpPr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T0" fmla="*/ 254611 w 275253"/>
                <a:gd name="T1" fmla="*/ 139004 h 275253"/>
                <a:gd name="T2" fmla="*/ 136251 w 275253"/>
                <a:gd name="T3" fmla="*/ 254611 h 275253"/>
                <a:gd name="T4" fmla="*/ 20644 w 275253"/>
                <a:gd name="T5" fmla="*/ 139004 h 275253"/>
                <a:gd name="T6" fmla="*/ 136251 w 275253"/>
                <a:gd name="T7" fmla="*/ 20644 h 27525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lnTo>
                    <a:pt x="254610" y="13900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5" name="Freeform: Shape 10">
              <a:extLst>
                <a:ext uri="{FF2B5EF4-FFF2-40B4-BE49-F238E27FC236}">
                  <a16:creationId xmlns:a16="http://schemas.microsoft.com/office/drawing/2014/main" id="{8D855B51-1F81-4AF0-931A-C427F57664C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T0" fmla="*/ 20644 w 192677"/>
                <a:gd name="T1" fmla="*/ 20644 h 633083"/>
                <a:gd name="T2" fmla="*/ 180292 w 192677"/>
                <a:gd name="T3" fmla="*/ 20644 h 633083"/>
                <a:gd name="T4" fmla="*/ 180292 w 192677"/>
                <a:gd name="T5" fmla="*/ 631709 h 633083"/>
                <a:gd name="T6" fmla="*/ 20644 w 192677"/>
                <a:gd name="T7" fmla="*/ 631709 h 6330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6" name="Freeform: Shape 11">
              <a:extLst>
                <a:ext uri="{FF2B5EF4-FFF2-40B4-BE49-F238E27FC236}">
                  <a16:creationId xmlns:a16="http://schemas.microsoft.com/office/drawing/2014/main" id="{2DE7E0F9-A81E-492D-8ADB-B9E4B87AAD52}"/>
                </a:ext>
              </a:extLst>
            </p:cNvPr>
            <p:cNvSpPr>
              <a:spLocks/>
            </p:cNvSpPr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T0" fmla="*/ 20644 w 495456"/>
                <a:gd name="T1" fmla="*/ 37159 h 633083"/>
                <a:gd name="T2" fmla="*/ 92210 w 495456"/>
                <a:gd name="T3" fmla="*/ 37159 h 633083"/>
                <a:gd name="T4" fmla="*/ 92210 w 495456"/>
                <a:gd name="T5" fmla="*/ 139003 h 633083"/>
                <a:gd name="T6" fmla="*/ 94963 w 495456"/>
                <a:gd name="T7" fmla="*/ 139003 h 633083"/>
                <a:gd name="T8" fmla="*/ 282136 w 495456"/>
                <a:gd name="T9" fmla="*/ 20644 h 633083"/>
                <a:gd name="T10" fmla="*/ 496834 w 495456"/>
                <a:gd name="T11" fmla="*/ 249105 h 633083"/>
                <a:gd name="T12" fmla="*/ 496834 w 495456"/>
                <a:gd name="T13" fmla="*/ 628956 h 633083"/>
                <a:gd name="T14" fmla="*/ 425268 w 495456"/>
                <a:gd name="T15" fmla="*/ 628956 h 633083"/>
                <a:gd name="T16" fmla="*/ 425268 w 495456"/>
                <a:gd name="T17" fmla="*/ 260115 h 633083"/>
                <a:gd name="T18" fmla="*/ 276631 w 495456"/>
                <a:gd name="T19" fmla="*/ 81200 h 633083"/>
                <a:gd name="T20" fmla="*/ 92210 w 495456"/>
                <a:gd name="T21" fmla="*/ 282135 h 633083"/>
                <a:gd name="T22" fmla="*/ 92210 w 495456"/>
                <a:gd name="T23" fmla="*/ 626204 h 633083"/>
                <a:gd name="T24" fmla="*/ 20644 w 495456"/>
                <a:gd name="T25" fmla="*/ 626204 h 633083"/>
                <a:gd name="T26" fmla="*/ 20644 w 495456"/>
                <a:gd name="T27" fmla="*/ 37159 h 6330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7" name="Freeform: Shape 12">
              <a:extLst>
                <a:ext uri="{FF2B5EF4-FFF2-40B4-BE49-F238E27FC236}">
                  <a16:creationId xmlns:a16="http://schemas.microsoft.com/office/drawing/2014/main" id="{96EB0A9C-2965-4995-BFA1-1BB989F71C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T0" fmla="*/ 20644 w 495456"/>
                <a:gd name="T1" fmla="*/ 37159 h 633083"/>
                <a:gd name="T2" fmla="*/ 92210 w 495456"/>
                <a:gd name="T3" fmla="*/ 37159 h 633083"/>
                <a:gd name="T4" fmla="*/ 92210 w 495456"/>
                <a:gd name="T5" fmla="*/ 139003 h 633083"/>
                <a:gd name="T6" fmla="*/ 94963 w 495456"/>
                <a:gd name="T7" fmla="*/ 139003 h 633083"/>
                <a:gd name="T8" fmla="*/ 282136 w 495456"/>
                <a:gd name="T9" fmla="*/ 20644 h 633083"/>
                <a:gd name="T10" fmla="*/ 496834 w 495456"/>
                <a:gd name="T11" fmla="*/ 249105 h 633083"/>
                <a:gd name="T12" fmla="*/ 496834 w 495456"/>
                <a:gd name="T13" fmla="*/ 628956 h 633083"/>
                <a:gd name="T14" fmla="*/ 425268 w 495456"/>
                <a:gd name="T15" fmla="*/ 628956 h 633083"/>
                <a:gd name="T16" fmla="*/ 425268 w 495456"/>
                <a:gd name="T17" fmla="*/ 260115 h 633083"/>
                <a:gd name="T18" fmla="*/ 276631 w 495456"/>
                <a:gd name="T19" fmla="*/ 81200 h 633083"/>
                <a:gd name="T20" fmla="*/ 92210 w 495456"/>
                <a:gd name="T21" fmla="*/ 284888 h 633083"/>
                <a:gd name="T22" fmla="*/ 92210 w 495456"/>
                <a:gd name="T23" fmla="*/ 628956 h 633083"/>
                <a:gd name="T24" fmla="*/ 20644 w 495456"/>
                <a:gd name="T25" fmla="*/ 628956 h 633083"/>
                <a:gd name="T26" fmla="*/ 20644 w 495456"/>
                <a:gd name="T27" fmla="*/ 37159 h 6330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8" name="Freeform: Shape 13">
              <a:extLst>
                <a:ext uri="{FF2B5EF4-FFF2-40B4-BE49-F238E27FC236}">
                  <a16:creationId xmlns:a16="http://schemas.microsoft.com/office/drawing/2014/main" id="{1DE1F610-D6A6-40C0-9252-C27769AA4861}"/>
                </a:ext>
              </a:extLst>
            </p:cNvPr>
            <p:cNvSpPr>
              <a:spLocks/>
            </p:cNvSpPr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T0" fmla="*/ 430772 w 578033"/>
                <a:gd name="T1" fmla="*/ 304156 h 660609"/>
                <a:gd name="T2" fmla="*/ 430772 w 578033"/>
                <a:gd name="T3" fmla="*/ 304156 h 660609"/>
                <a:gd name="T4" fmla="*/ 367464 w 578033"/>
                <a:gd name="T5" fmla="*/ 331681 h 660609"/>
                <a:gd name="T6" fmla="*/ 94963 w 578033"/>
                <a:gd name="T7" fmla="*/ 466555 h 660609"/>
                <a:gd name="T8" fmla="*/ 227084 w 578033"/>
                <a:gd name="T9" fmla="*/ 582162 h 660609"/>
                <a:gd name="T10" fmla="*/ 430772 w 578033"/>
                <a:gd name="T11" fmla="*/ 397742 h 660609"/>
                <a:gd name="T12" fmla="*/ 430772 w 578033"/>
                <a:gd name="T13" fmla="*/ 304156 h 660609"/>
                <a:gd name="T14" fmla="*/ 48169 w 578033"/>
                <a:gd name="T15" fmla="*/ 218827 h 660609"/>
                <a:gd name="T16" fmla="*/ 284888 w 578033"/>
                <a:gd name="T17" fmla="*/ 20644 h 660609"/>
                <a:gd name="T18" fmla="*/ 502338 w 578033"/>
                <a:gd name="T19" fmla="*/ 210569 h 660609"/>
                <a:gd name="T20" fmla="*/ 502338 w 578033"/>
                <a:gd name="T21" fmla="*/ 524359 h 660609"/>
                <a:gd name="T22" fmla="*/ 543626 w 578033"/>
                <a:gd name="T23" fmla="*/ 568399 h 660609"/>
                <a:gd name="T24" fmla="*/ 565647 w 578033"/>
                <a:gd name="T25" fmla="*/ 562894 h 660609"/>
                <a:gd name="T26" fmla="*/ 565647 w 578033"/>
                <a:gd name="T27" fmla="*/ 623450 h 660609"/>
                <a:gd name="T28" fmla="*/ 518854 w 578033"/>
                <a:gd name="T29" fmla="*/ 628955 h 660609"/>
                <a:gd name="T30" fmla="*/ 433525 w 578033"/>
                <a:gd name="T31" fmla="*/ 527111 h 660609"/>
                <a:gd name="T32" fmla="*/ 433525 w 578033"/>
                <a:gd name="T33" fmla="*/ 527111 h 660609"/>
                <a:gd name="T34" fmla="*/ 218827 w 578033"/>
                <a:gd name="T35" fmla="*/ 648223 h 660609"/>
                <a:gd name="T36" fmla="*/ 20644 w 578033"/>
                <a:gd name="T37" fmla="*/ 474813 h 660609"/>
                <a:gd name="T38" fmla="*/ 337186 w 578033"/>
                <a:gd name="T39" fmla="*/ 284888 h 660609"/>
                <a:gd name="T40" fmla="*/ 428020 w 578033"/>
                <a:gd name="T41" fmla="*/ 205064 h 660609"/>
                <a:gd name="T42" fmla="*/ 273878 w 578033"/>
                <a:gd name="T43" fmla="*/ 83952 h 660609"/>
                <a:gd name="T44" fmla="*/ 116983 w 578033"/>
                <a:gd name="T45" fmla="*/ 221579 h 660609"/>
                <a:gd name="T46" fmla="*/ 48169 w 578033"/>
                <a:gd name="T47" fmla="*/ 221579 h 6606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lnTo>
                    <a:pt x="48169" y="2188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9" name="Freeform: Shape 14">
              <a:extLst>
                <a:ext uri="{FF2B5EF4-FFF2-40B4-BE49-F238E27FC236}">
                  <a16:creationId xmlns:a16="http://schemas.microsoft.com/office/drawing/2014/main" id="{E8F71D03-07DB-4099-83FE-A24C7C843C5E}"/>
                </a:ext>
              </a:extLst>
            </p:cNvPr>
            <p:cNvSpPr>
              <a:spLocks/>
            </p:cNvSpPr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T0" fmla="*/ 194055 w 330304"/>
                <a:gd name="T1" fmla="*/ 196807 h 798236"/>
                <a:gd name="T2" fmla="*/ 312414 w 330304"/>
                <a:gd name="T3" fmla="*/ 196807 h 798236"/>
                <a:gd name="T4" fmla="*/ 312414 w 330304"/>
                <a:gd name="T5" fmla="*/ 257362 h 798236"/>
                <a:gd name="T6" fmla="*/ 194055 w 330304"/>
                <a:gd name="T7" fmla="*/ 257362 h 798236"/>
                <a:gd name="T8" fmla="*/ 194055 w 330304"/>
                <a:gd name="T9" fmla="*/ 656480 h 798236"/>
                <a:gd name="T10" fmla="*/ 251858 w 330304"/>
                <a:gd name="T11" fmla="*/ 733552 h 798236"/>
                <a:gd name="T12" fmla="*/ 312414 w 330304"/>
                <a:gd name="T13" fmla="*/ 730799 h 798236"/>
                <a:gd name="T14" fmla="*/ 312414 w 330304"/>
                <a:gd name="T15" fmla="*/ 791355 h 798236"/>
                <a:gd name="T16" fmla="*/ 249106 w 330304"/>
                <a:gd name="T17" fmla="*/ 794107 h 798236"/>
                <a:gd name="T18" fmla="*/ 122488 w 330304"/>
                <a:gd name="T19" fmla="*/ 661986 h 798236"/>
                <a:gd name="T20" fmla="*/ 122488 w 330304"/>
                <a:gd name="T21" fmla="*/ 257362 h 798236"/>
                <a:gd name="T22" fmla="*/ 20644 w 330304"/>
                <a:gd name="T23" fmla="*/ 257362 h 798236"/>
                <a:gd name="T24" fmla="*/ 20644 w 330304"/>
                <a:gd name="T25" fmla="*/ 196807 h 798236"/>
                <a:gd name="T26" fmla="*/ 122488 w 330304"/>
                <a:gd name="T27" fmla="*/ 196807 h 798236"/>
                <a:gd name="T28" fmla="*/ 122488 w 330304"/>
                <a:gd name="T29" fmla="*/ 20644 h 798236"/>
                <a:gd name="T30" fmla="*/ 194055 w 330304"/>
                <a:gd name="T31" fmla="*/ 20644 h 798236"/>
                <a:gd name="T32" fmla="*/ 194055 w 330304"/>
                <a:gd name="T33" fmla="*/ 196807 h 7982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0" name="Freeform: Shape 15">
              <a:extLst>
                <a:ext uri="{FF2B5EF4-FFF2-40B4-BE49-F238E27FC236}">
                  <a16:creationId xmlns:a16="http://schemas.microsoft.com/office/drawing/2014/main" id="{087473A1-E05F-40BD-9F9D-F0844A37474E}"/>
                </a:ext>
              </a:extLst>
            </p:cNvPr>
            <p:cNvSpPr>
              <a:spLocks/>
            </p:cNvSpPr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T0" fmla="*/ 194055 w 330304"/>
                <a:gd name="T1" fmla="*/ 196807 h 798236"/>
                <a:gd name="T2" fmla="*/ 312414 w 330304"/>
                <a:gd name="T3" fmla="*/ 196807 h 798236"/>
                <a:gd name="T4" fmla="*/ 312414 w 330304"/>
                <a:gd name="T5" fmla="*/ 257362 h 798236"/>
                <a:gd name="T6" fmla="*/ 194055 w 330304"/>
                <a:gd name="T7" fmla="*/ 257362 h 798236"/>
                <a:gd name="T8" fmla="*/ 194055 w 330304"/>
                <a:gd name="T9" fmla="*/ 656480 h 798236"/>
                <a:gd name="T10" fmla="*/ 251858 w 330304"/>
                <a:gd name="T11" fmla="*/ 733552 h 798236"/>
                <a:gd name="T12" fmla="*/ 312414 w 330304"/>
                <a:gd name="T13" fmla="*/ 730799 h 798236"/>
                <a:gd name="T14" fmla="*/ 312414 w 330304"/>
                <a:gd name="T15" fmla="*/ 791355 h 798236"/>
                <a:gd name="T16" fmla="*/ 249106 w 330304"/>
                <a:gd name="T17" fmla="*/ 794107 h 798236"/>
                <a:gd name="T18" fmla="*/ 122488 w 330304"/>
                <a:gd name="T19" fmla="*/ 661986 h 798236"/>
                <a:gd name="T20" fmla="*/ 122488 w 330304"/>
                <a:gd name="T21" fmla="*/ 257362 h 798236"/>
                <a:gd name="T22" fmla="*/ 20644 w 330304"/>
                <a:gd name="T23" fmla="*/ 257362 h 798236"/>
                <a:gd name="T24" fmla="*/ 20644 w 330304"/>
                <a:gd name="T25" fmla="*/ 196807 h 798236"/>
                <a:gd name="T26" fmla="*/ 122488 w 330304"/>
                <a:gd name="T27" fmla="*/ 196807 h 798236"/>
                <a:gd name="T28" fmla="*/ 122488 w 330304"/>
                <a:gd name="T29" fmla="*/ 20644 h 798236"/>
                <a:gd name="T30" fmla="*/ 194055 w 330304"/>
                <a:gd name="T31" fmla="*/ 20644 h 798236"/>
                <a:gd name="T32" fmla="*/ 194055 w 330304"/>
                <a:gd name="T33" fmla="*/ 196807 h 7982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1" name="Freeform: Shape 16">
              <a:extLst>
                <a:ext uri="{FF2B5EF4-FFF2-40B4-BE49-F238E27FC236}">
                  <a16:creationId xmlns:a16="http://schemas.microsoft.com/office/drawing/2014/main" id="{BDA44294-238B-4067-B47F-D9C47BAB473B}"/>
                </a:ext>
              </a:extLst>
            </p:cNvPr>
            <p:cNvSpPr>
              <a:spLocks/>
            </p:cNvSpPr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T0" fmla="*/ 20644 w 110101"/>
                <a:gd name="T1" fmla="*/ 246352 h 853286"/>
                <a:gd name="T2" fmla="*/ 92211 w 110101"/>
                <a:gd name="T3" fmla="*/ 246352 h 853286"/>
                <a:gd name="T4" fmla="*/ 92211 w 110101"/>
                <a:gd name="T5" fmla="*/ 835396 h 853286"/>
                <a:gd name="T6" fmla="*/ 20644 w 110101"/>
                <a:gd name="T7" fmla="*/ 835396 h 853286"/>
                <a:gd name="T8" fmla="*/ 20644 w 110101"/>
                <a:gd name="T9" fmla="*/ 246352 h 853286"/>
                <a:gd name="T10" fmla="*/ 20644 w 110101"/>
                <a:gd name="T11" fmla="*/ 20644 h 853286"/>
                <a:gd name="T12" fmla="*/ 92211 w 110101"/>
                <a:gd name="T13" fmla="*/ 20644 h 853286"/>
                <a:gd name="T14" fmla="*/ 92211 w 110101"/>
                <a:gd name="T15" fmla="*/ 136251 h 853286"/>
                <a:gd name="T16" fmla="*/ 20644 w 110101"/>
                <a:gd name="T17" fmla="*/ 136251 h 853286"/>
                <a:gd name="T18" fmla="*/ 20644 w 110101"/>
                <a:gd name="T19" fmla="*/ 20644 h 8532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2" name="Freeform: Shape 17">
              <a:extLst>
                <a:ext uri="{FF2B5EF4-FFF2-40B4-BE49-F238E27FC236}">
                  <a16:creationId xmlns:a16="http://schemas.microsoft.com/office/drawing/2014/main" id="{403DEE8D-B8D3-4F0E-A5FA-47E31CB0996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T0" fmla="*/ 20644 w 110101"/>
                <a:gd name="T1" fmla="*/ 20644 h 605558"/>
                <a:gd name="T2" fmla="*/ 92211 w 110101"/>
                <a:gd name="T3" fmla="*/ 20644 h 605558"/>
                <a:gd name="T4" fmla="*/ 92211 w 110101"/>
                <a:gd name="T5" fmla="*/ 609688 h 605558"/>
                <a:gd name="T6" fmla="*/ 20644 w 110101"/>
                <a:gd name="T7" fmla="*/ 609688 h 6055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3" name="Freeform: Shape 18">
              <a:extLst>
                <a:ext uri="{FF2B5EF4-FFF2-40B4-BE49-F238E27FC236}">
                  <a16:creationId xmlns:a16="http://schemas.microsoft.com/office/drawing/2014/main" id="{8A6011B9-139D-4AAE-A773-5BE4CFEB566F}"/>
                </a:ext>
              </a:extLst>
            </p:cNvPr>
            <p:cNvSpPr>
              <a:spLocks/>
            </p:cNvSpPr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T0" fmla="*/ 20644 w 110101"/>
                <a:gd name="T1" fmla="*/ 20644 h 137626"/>
                <a:gd name="T2" fmla="*/ 92211 w 110101"/>
                <a:gd name="T3" fmla="*/ 20644 h 137626"/>
                <a:gd name="T4" fmla="*/ 92211 w 110101"/>
                <a:gd name="T5" fmla="*/ 136252 h 137626"/>
                <a:gd name="T6" fmla="*/ 20644 w 110101"/>
                <a:gd name="T7" fmla="*/ 136252 h 1376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4" name="Freeform: Shape 19">
              <a:extLst>
                <a:ext uri="{FF2B5EF4-FFF2-40B4-BE49-F238E27FC236}">
                  <a16:creationId xmlns:a16="http://schemas.microsoft.com/office/drawing/2014/main" id="{4B70D2F1-53C3-4B72-8730-E74DB7ECD699}"/>
                </a:ext>
              </a:extLst>
            </p:cNvPr>
            <p:cNvSpPr>
              <a:spLocks/>
            </p:cNvSpPr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T0" fmla="*/ 92210 w 578033"/>
                <a:gd name="T1" fmla="*/ 331681 h 660609"/>
                <a:gd name="T2" fmla="*/ 298650 w 578033"/>
                <a:gd name="T3" fmla="*/ 582162 h 660609"/>
                <a:gd name="T4" fmla="*/ 505091 w 578033"/>
                <a:gd name="T5" fmla="*/ 331681 h 660609"/>
                <a:gd name="T6" fmla="*/ 298650 w 578033"/>
                <a:gd name="T7" fmla="*/ 81200 h 660609"/>
                <a:gd name="T8" fmla="*/ 92210 w 578033"/>
                <a:gd name="T9" fmla="*/ 331681 h 660609"/>
                <a:gd name="T10" fmla="*/ 576657 w 578033"/>
                <a:gd name="T11" fmla="*/ 331681 h 660609"/>
                <a:gd name="T12" fmla="*/ 298650 w 578033"/>
                <a:gd name="T13" fmla="*/ 642718 h 660609"/>
                <a:gd name="T14" fmla="*/ 20644 w 578033"/>
                <a:gd name="T15" fmla="*/ 331681 h 660609"/>
                <a:gd name="T16" fmla="*/ 298650 w 578033"/>
                <a:gd name="T17" fmla="*/ 20644 h 660609"/>
                <a:gd name="T18" fmla="*/ 576657 w 578033"/>
                <a:gd name="T19" fmla="*/ 331681 h 66060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5" name="Freeform: Shape 20">
              <a:extLst>
                <a:ext uri="{FF2B5EF4-FFF2-40B4-BE49-F238E27FC236}">
                  <a16:creationId xmlns:a16="http://schemas.microsoft.com/office/drawing/2014/main" id="{2F422987-8F49-4214-8133-E8CA98A6ED6A}"/>
                </a:ext>
              </a:extLst>
            </p:cNvPr>
            <p:cNvSpPr>
              <a:spLocks/>
            </p:cNvSpPr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T0" fmla="*/ 20644 w 495456"/>
                <a:gd name="T1" fmla="*/ 37159 h 633083"/>
                <a:gd name="T2" fmla="*/ 92210 w 495456"/>
                <a:gd name="T3" fmla="*/ 37159 h 633083"/>
                <a:gd name="T4" fmla="*/ 92210 w 495456"/>
                <a:gd name="T5" fmla="*/ 139003 h 633083"/>
                <a:gd name="T6" fmla="*/ 94963 w 495456"/>
                <a:gd name="T7" fmla="*/ 139003 h 633083"/>
                <a:gd name="T8" fmla="*/ 282136 w 495456"/>
                <a:gd name="T9" fmla="*/ 20644 h 633083"/>
                <a:gd name="T10" fmla="*/ 496834 w 495456"/>
                <a:gd name="T11" fmla="*/ 249105 h 633083"/>
                <a:gd name="T12" fmla="*/ 496834 w 495456"/>
                <a:gd name="T13" fmla="*/ 628956 h 633083"/>
                <a:gd name="T14" fmla="*/ 425268 w 495456"/>
                <a:gd name="T15" fmla="*/ 628956 h 633083"/>
                <a:gd name="T16" fmla="*/ 425268 w 495456"/>
                <a:gd name="T17" fmla="*/ 260115 h 633083"/>
                <a:gd name="T18" fmla="*/ 276631 w 495456"/>
                <a:gd name="T19" fmla="*/ 81200 h 633083"/>
                <a:gd name="T20" fmla="*/ 92210 w 495456"/>
                <a:gd name="T21" fmla="*/ 282135 h 633083"/>
                <a:gd name="T22" fmla="*/ 92210 w 495456"/>
                <a:gd name="T23" fmla="*/ 626204 h 633083"/>
                <a:gd name="T24" fmla="*/ 20644 w 495456"/>
                <a:gd name="T25" fmla="*/ 626204 h 633083"/>
                <a:gd name="T26" fmla="*/ 20644 w 495456"/>
                <a:gd name="T27" fmla="*/ 37159 h 6330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6" name="Freeform: Shape 21">
              <a:extLst>
                <a:ext uri="{FF2B5EF4-FFF2-40B4-BE49-F238E27FC236}">
                  <a16:creationId xmlns:a16="http://schemas.microsoft.com/office/drawing/2014/main" id="{12C34A71-6E45-453C-B65F-82394DCD71A5}"/>
                </a:ext>
              </a:extLst>
            </p:cNvPr>
            <p:cNvSpPr>
              <a:spLocks/>
            </p:cNvSpPr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T0" fmla="*/ 20644 w 495456"/>
                <a:gd name="T1" fmla="*/ 37159 h 633083"/>
                <a:gd name="T2" fmla="*/ 92210 w 495456"/>
                <a:gd name="T3" fmla="*/ 37159 h 633083"/>
                <a:gd name="T4" fmla="*/ 92210 w 495456"/>
                <a:gd name="T5" fmla="*/ 139003 h 633083"/>
                <a:gd name="T6" fmla="*/ 94963 w 495456"/>
                <a:gd name="T7" fmla="*/ 139003 h 633083"/>
                <a:gd name="T8" fmla="*/ 282136 w 495456"/>
                <a:gd name="T9" fmla="*/ 20644 h 633083"/>
                <a:gd name="T10" fmla="*/ 496834 w 495456"/>
                <a:gd name="T11" fmla="*/ 249105 h 633083"/>
                <a:gd name="T12" fmla="*/ 496834 w 495456"/>
                <a:gd name="T13" fmla="*/ 628956 h 633083"/>
                <a:gd name="T14" fmla="*/ 425268 w 495456"/>
                <a:gd name="T15" fmla="*/ 628956 h 633083"/>
                <a:gd name="T16" fmla="*/ 425268 w 495456"/>
                <a:gd name="T17" fmla="*/ 260115 h 633083"/>
                <a:gd name="T18" fmla="*/ 276631 w 495456"/>
                <a:gd name="T19" fmla="*/ 81200 h 633083"/>
                <a:gd name="T20" fmla="*/ 92210 w 495456"/>
                <a:gd name="T21" fmla="*/ 284888 h 633083"/>
                <a:gd name="T22" fmla="*/ 92210 w 495456"/>
                <a:gd name="T23" fmla="*/ 628956 h 633083"/>
                <a:gd name="T24" fmla="*/ 20644 w 495456"/>
                <a:gd name="T25" fmla="*/ 628956 h 633083"/>
                <a:gd name="T26" fmla="*/ 20644 w 495456"/>
                <a:gd name="T27" fmla="*/ 37159 h 6330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7" name="Freeform: Shape 22">
              <a:extLst>
                <a:ext uri="{FF2B5EF4-FFF2-40B4-BE49-F238E27FC236}">
                  <a16:creationId xmlns:a16="http://schemas.microsoft.com/office/drawing/2014/main" id="{1FCD6A6B-77B2-430C-819E-A5E0FF916625}"/>
                </a:ext>
              </a:extLst>
            </p:cNvPr>
            <p:cNvSpPr>
              <a:spLocks/>
            </p:cNvSpPr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T0" fmla="*/ 430772 w 578033"/>
                <a:gd name="T1" fmla="*/ 304156 h 660609"/>
                <a:gd name="T2" fmla="*/ 430772 w 578033"/>
                <a:gd name="T3" fmla="*/ 304156 h 660609"/>
                <a:gd name="T4" fmla="*/ 367464 w 578033"/>
                <a:gd name="T5" fmla="*/ 331681 h 660609"/>
                <a:gd name="T6" fmla="*/ 94963 w 578033"/>
                <a:gd name="T7" fmla="*/ 466555 h 660609"/>
                <a:gd name="T8" fmla="*/ 227084 w 578033"/>
                <a:gd name="T9" fmla="*/ 582162 h 660609"/>
                <a:gd name="T10" fmla="*/ 430772 w 578033"/>
                <a:gd name="T11" fmla="*/ 397742 h 660609"/>
                <a:gd name="T12" fmla="*/ 430772 w 578033"/>
                <a:gd name="T13" fmla="*/ 304156 h 660609"/>
                <a:gd name="T14" fmla="*/ 48169 w 578033"/>
                <a:gd name="T15" fmla="*/ 218827 h 660609"/>
                <a:gd name="T16" fmla="*/ 284888 w 578033"/>
                <a:gd name="T17" fmla="*/ 20644 h 660609"/>
                <a:gd name="T18" fmla="*/ 502338 w 578033"/>
                <a:gd name="T19" fmla="*/ 210569 h 660609"/>
                <a:gd name="T20" fmla="*/ 502338 w 578033"/>
                <a:gd name="T21" fmla="*/ 524359 h 660609"/>
                <a:gd name="T22" fmla="*/ 543626 w 578033"/>
                <a:gd name="T23" fmla="*/ 568399 h 660609"/>
                <a:gd name="T24" fmla="*/ 565647 w 578033"/>
                <a:gd name="T25" fmla="*/ 562894 h 660609"/>
                <a:gd name="T26" fmla="*/ 565647 w 578033"/>
                <a:gd name="T27" fmla="*/ 623450 h 660609"/>
                <a:gd name="T28" fmla="*/ 518854 w 578033"/>
                <a:gd name="T29" fmla="*/ 628955 h 660609"/>
                <a:gd name="T30" fmla="*/ 433525 w 578033"/>
                <a:gd name="T31" fmla="*/ 527111 h 660609"/>
                <a:gd name="T32" fmla="*/ 430772 w 578033"/>
                <a:gd name="T33" fmla="*/ 527111 h 660609"/>
                <a:gd name="T34" fmla="*/ 216074 w 578033"/>
                <a:gd name="T35" fmla="*/ 648223 h 660609"/>
                <a:gd name="T36" fmla="*/ 20644 w 578033"/>
                <a:gd name="T37" fmla="*/ 474813 h 660609"/>
                <a:gd name="T38" fmla="*/ 334433 w 578033"/>
                <a:gd name="T39" fmla="*/ 284888 h 660609"/>
                <a:gd name="T40" fmla="*/ 425267 w 578033"/>
                <a:gd name="T41" fmla="*/ 205064 h 660609"/>
                <a:gd name="T42" fmla="*/ 271125 w 578033"/>
                <a:gd name="T43" fmla="*/ 83952 h 660609"/>
                <a:gd name="T44" fmla="*/ 114230 w 578033"/>
                <a:gd name="T45" fmla="*/ 221579 h 660609"/>
                <a:gd name="T46" fmla="*/ 48169 w 578033"/>
                <a:gd name="T47" fmla="*/ 221579 h 6606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lnTo>
                    <a:pt x="48169" y="2188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8" name="Freeform: Shape 23">
              <a:extLst>
                <a:ext uri="{FF2B5EF4-FFF2-40B4-BE49-F238E27FC236}">
                  <a16:creationId xmlns:a16="http://schemas.microsoft.com/office/drawing/2014/main" id="{86A1D043-BC03-43EE-A702-4C7ABFD8EF38}"/>
                </a:ext>
              </a:extLst>
            </p:cNvPr>
            <p:cNvSpPr>
              <a:spLocks/>
            </p:cNvSpPr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T0" fmla="*/ 20644 w 110101"/>
                <a:gd name="T1" fmla="*/ 20644 h 853286"/>
                <a:gd name="T2" fmla="*/ 92211 w 110101"/>
                <a:gd name="T3" fmla="*/ 20644 h 853286"/>
                <a:gd name="T4" fmla="*/ 92211 w 110101"/>
                <a:gd name="T5" fmla="*/ 838149 h 853286"/>
                <a:gd name="T6" fmla="*/ 20644 w 110101"/>
                <a:gd name="T7" fmla="*/ 838149 h 85328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19" name="Freeform: Shape 24">
              <a:extLst>
                <a:ext uri="{FF2B5EF4-FFF2-40B4-BE49-F238E27FC236}">
                  <a16:creationId xmlns:a16="http://schemas.microsoft.com/office/drawing/2014/main" id="{97392E8B-6C7D-4959-80B8-E04CDB76FC22}"/>
                </a:ext>
              </a:extLst>
            </p:cNvPr>
            <p:cNvSpPr>
              <a:spLocks/>
            </p:cNvSpPr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T0" fmla="*/ 20644 w 110101"/>
                <a:gd name="T1" fmla="*/ 20644 h 853286"/>
                <a:gd name="T2" fmla="*/ 92211 w 110101"/>
                <a:gd name="T3" fmla="*/ 20644 h 853286"/>
                <a:gd name="T4" fmla="*/ 92211 w 110101"/>
                <a:gd name="T5" fmla="*/ 838149 h 853286"/>
                <a:gd name="T6" fmla="*/ 20644 w 110101"/>
                <a:gd name="T7" fmla="*/ 838149 h 85328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20" name="Freeform: Shape 25">
              <a:extLst>
                <a:ext uri="{FF2B5EF4-FFF2-40B4-BE49-F238E27FC236}">
                  <a16:creationId xmlns:a16="http://schemas.microsoft.com/office/drawing/2014/main" id="{0EAD0A2D-BB66-4B96-8941-5822CDA40B8E}"/>
                </a:ext>
              </a:extLst>
            </p:cNvPr>
            <p:cNvSpPr>
              <a:spLocks/>
            </p:cNvSpPr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T0" fmla="*/ 312414 w 605558"/>
                <a:gd name="T1" fmla="*/ 516102 h 908337"/>
                <a:gd name="T2" fmla="*/ 447289 w 605558"/>
                <a:gd name="T3" fmla="*/ 339939 h 908337"/>
                <a:gd name="T4" fmla="*/ 309662 w 605558"/>
                <a:gd name="T5" fmla="*/ 161024 h 908337"/>
                <a:gd name="T6" fmla="*/ 185796 w 605558"/>
                <a:gd name="T7" fmla="*/ 345444 h 908337"/>
                <a:gd name="T8" fmla="*/ 312414 w 605558"/>
                <a:gd name="T9" fmla="*/ 516102 h 908337"/>
                <a:gd name="T10" fmla="*/ 604183 w 605558"/>
                <a:gd name="T11" fmla="*/ 37159 h 908337"/>
                <a:gd name="T12" fmla="*/ 604183 w 605558"/>
                <a:gd name="T13" fmla="*/ 615193 h 908337"/>
                <a:gd name="T14" fmla="*/ 298650 w 605558"/>
                <a:gd name="T15" fmla="*/ 895952 h 908337"/>
                <a:gd name="T16" fmla="*/ 34407 w 605558"/>
                <a:gd name="T17" fmla="*/ 714285 h 908337"/>
                <a:gd name="T18" fmla="*/ 207816 w 605558"/>
                <a:gd name="T19" fmla="*/ 714285 h 908337"/>
                <a:gd name="T20" fmla="*/ 320672 w 605558"/>
                <a:gd name="T21" fmla="*/ 774841 h 908337"/>
                <a:gd name="T22" fmla="*/ 447289 w 605558"/>
                <a:gd name="T23" fmla="*/ 634461 h 908337"/>
                <a:gd name="T24" fmla="*/ 447289 w 605558"/>
                <a:gd name="T25" fmla="*/ 560143 h 908337"/>
                <a:gd name="T26" fmla="*/ 444536 w 605558"/>
                <a:gd name="T27" fmla="*/ 557390 h 908337"/>
                <a:gd name="T28" fmla="*/ 282135 w 605558"/>
                <a:gd name="T29" fmla="*/ 648224 h 908337"/>
                <a:gd name="T30" fmla="*/ 20644 w 605558"/>
                <a:gd name="T31" fmla="*/ 334433 h 908337"/>
                <a:gd name="T32" fmla="*/ 271125 w 605558"/>
                <a:gd name="T33" fmla="*/ 20644 h 908337"/>
                <a:gd name="T34" fmla="*/ 447289 w 605558"/>
                <a:gd name="T35" fmla="*/ 127993 h 908337"/>
                <a:gd name="T36" fmla="*/ 450041 w 605558"/>
                <a:gd name="T37" fmla="*/ 127993 h 908337"/>
                <a:gd name="T38" fmla="*/ 450041 w 605558"/>
                <a:gd name="T39" fmla="*/ 37159 h 908337"/>
                <a:gd name="T40" fmla="*/ 604183 w 605558"/>
                <a:gd name="T41" fmla="*/ 37159 h 90833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21" name="Freeform: Shape 26">
              <a:extLst>
                <a:ext uri="{FF2B5EF4-FFF2-40B4-BE49-F238E27FC236}">
                  <a16:creationId xmlns:a16="http://schemas.microsoft.com/office/drawing/2014/main" id="{E1F48C16-44B3-4ADD-82B3-A98442553EE7}"/>
                </a:ext>
              </a:extLst>
            </p:cNvPr>
            <p:cNvSpPr>
              <a:spLocks/>
            </p:cNvSpPr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T0" fmla="*/ 23397 w 385355"/>
                <a:gd name="T1" fmla="*/ 37159 h 660609"/>
                <a:gd name="T2" fmla="*/ 174786 w 385355"/>
                <a:gd name="T3" fmla="*/ 37159 h 660609"/>
                <a:gd name="T4" fmla="*/ 174786 w 385355"/>
                <a:gd name="T5" fmla="*/ 141756 h 660609"/>
                <a:gd name="T6" fmla="*/ 177539 w 385355"/>
                <a:gd name="T7" fmla="*/ 141756 h 660609"/>
                <a:gd name="T8" fmla="*/ 342691 w 385355"/>
                <a:gd name="T9" fmla="*/ 20644 h 660609"/>
                <a:gd name="T10" fmla="*/ 372969 w 385355"/>
                <a:gd name="T11" fmla="*/ 23397 h 660609"/>
                <a:gd name="T12" fmla="*/ 372969 w 385355"/>
                <a:gd name="T13" fmla="*/ 185796 h 660609"/>
                <a:gd name="T14" fmla="*/ 326176 w 385355"/>
                <a:gd name="T15" fmla="*/ 183044 h 660609"/>
                <a:gd name="T16" fmla="*/ 180291 w 385355"/>
                <a:gd name="T17" fmla="*/ 328928 h 660609"/>
                <a:gd name="T18" fmla="*/ 180291 w 385355"/>
                <a:gd name="T19" fmla="*/ 645470 h 660609"/>
                <a:gd name="T20" fmla="*/ 20644 w 385355"/>
                <a:gd name="T21" fmla="*/ 645470 h 660609"/>
                <a:gd name="T22" fmla="*/ 20644 w 385355"/>
                <a:gd name="T23" fmla="*/ 37159 h 66060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lnTo>
                    <a:pt x="23397" y="371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  <p:sp>
          <p:nvSpPr>
            <p:cNvPr id="22" name="Freeform: Shape 27">
              <a:extLst>
                <a:ext uri="{FF2B5EF4-FFF2-40B4-BE49-F238E27FC236}">
                  <a16:creationId xmlns:a16="http://schemas.microsoft.com/office/drawing/2014/main" id="{30A12847-B850-4FAD-B511-0B4DA0A5E093}"/>
                </a:ext>
              </a:extLst>
            </p:cNvPr>
            <p:cNvSpPr>
              <a:spLocks/>
            </p:cNvSpPr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T0" fmla="*/ 320672 w 633083"/>
                <a:gd name="T1" fmla="*/ 725295 h 853286"/>
                <a:gd name="T2" fmla="*/ 461051 w 633083"/>
                <a:gd name="T3" fmla="*/ 549132 h 853286"/>
                <a:gd name="T4" fmla="*/ 323424 w 633083"/>
                <a:gd name="T5" fmla="*/ 353701 h 853286"/>
                <a:gd name="T6" fmla="*/ 188549 w 633083"/>
                <a:gd name="T7" fmla="*/ 540875 h 853286"/>
                <a:gd name="T8" fmla="*/ 320672 w 633083"/>
                <a:gd name="T9" fmla="*/ 725295 h 853286"/>
                <a:gd name="T10" fmla="*/ 612441 w 633083"/>
                <a:gd name="T11" fmla="*/ 840902 h 853286"/>
                <a:gd name="T12" fmla="*/ 455546 w 633083"/>
                <a:gd name="T13" fmla="*/ 840902 h 853286"/>
                <a:gd name="T14" fmla="*/ 455546 w 633083"/>
                <a:gd name="T15" fmla="*/ 763830 h 853286"/>
                <a:gd name="T16" fmla="*/ 452794 w 633083"/>
                <a:gd name="T17" fmla="*/ 763830 h 853286"/>
                <a:gd name="T18" fmla="*/ 276630 w 633083"/>
                <a:gd name="T19" fmla="*/ 857417 h 853286"/>
                <a:gd name="T20" fmla="*/ 20644 w 633083"/>
                <a:gd name="T21" fmla="*/ 529865 h 853286"/>
                <a:gd name="T22" fmla="*/ 271125 w 633083"/>
                <a:gd name="T23" fmla="*/ 216074 h 853286"/>
                <a:gd name="T24" fmla="*/ 447289 w 633083"/>
                <a:gd name="T25" fmla="*/ 309661 h 853286"/>
                <a:gd name="T26" fmla="*/ 450041 w 633083"/>
                <a:gd name="T27" fmla="*/ 309661 h 853286"/>
                <a:gd name="T28" fmla="*/ 450041 w 633083"/>
                <a:gd name="T29" fmla="*/ 20644 h 853286"/>
                <a:gd name="T30" fmla="*/ 609689 w 633083"/>
                <a:gd name="T31" fmla="*/ 20644 h 853286"/>
                <a:gd name="T32" fmla="*/ 609689 w 633083"/>
                <a:gd name="T33" fmla="*/ 840902 h 8532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lnTo>
                    <a:pt x="612440" y="8409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GB" sz="1350"/>
            </a:p>
          </p:txBody>
        </p:sp>
      </p:grpSp>
    </p:spTree>
    <p:extLst>
      <p:ext uri="{BB962C8B-B14F-4D97-AF65-F5344CB8AC3E}">
        <p14:creationId xmlns:p14="http://schemas.microsoft.com/office/powerpoint/2010/main" val="270863981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1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/>
        </p:nvSpPr>
        <p:spPr>
          <a:xfrm>
            <a:off x="9206426" y="1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6" marR="0" lvl="2" indent="-9048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32916335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999" y="1062500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8000" y="1062500"/>
            <a:ext cx="2592000" cy="2664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75659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65219-2792-D91E-EABB-9AA684047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281E95-5FDB-FB13-949C-427D69E34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2660" y="1058467"/>
            <a:ext cx="8498681" cy="18620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571F86-F6AB-3BE8-A4E8-BBB74560C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07127-F07D-4FFC-8A8E-2D5BEF0A3F91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7D10C-502C-1EE2-86AE-8C8024D77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8201C-7698-5AB8-4B9D-49FB476F6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5FD0E-8162-4670-B194-D17AD1442C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3678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+ Electricity Transmission">
    <p:bg>
      <p:bgPr>
        <a:solidFill>
          <a:srgbClr val="00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475295"/>
            <a:ext cx="6160413" cy="69249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lang="en-US" sz="4500" b="0" spc="-75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1403294"/>
            <a:ext cx="2598742" cy="1107996"/>
          </a:xfrm>
        </p:spPr>
        <p:txBody>
          <a:bodyPr anchor="b" anchorCtr="0"/>
          <a:lstStyle>
            <a:lvl1pPr>
              <a:defRPr sz="7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7" y="4703408"/>
            <a:ext cx="1072827" cy="22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6984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DB88A-1A1C-4D60-A225-E83E08ABC2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DADABB-A06A-48E8-A5AF-7ACD18AF21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9F1D6-264F-4BF3-86F8-CF6D5F7EC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2EB491-657E-47B4-B927-8FA5DA6F4CFF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672D78-8B5E-43A4-8081-F5DAF5651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38DEFB-007F-4F6D-965E-0BBD43683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67C0C-653B-4081-A820-9DA1317ABC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60669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D2FCA6-72B2-413C-A6BE-3185F470BC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3849" y="1135857"/>
            <a:ext cx="3858300" cy="18620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0819D2-FA24-4550-BFBE-F75B0DF22B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05542" y="1135857"/>
            <a:ext cx="3858300" cy="18620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100D6E-A1E9-40F6-93CD-28FC42669E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A66832-37A8-43EE-90B0-A0FEE4B2D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34678" y="4571584"/>
            <a:ext cx="7196138" cy="338554"/>
          </a:xfrm>
        </p:spPr>
        <p:txBody>
          <a:bodyPr/>
          <a:lstStyle/>
          <a:p>
            <a:r>
              <a:rPr lang="en-GB"/>
              <a:t>National Grid - audience outcome priorities Q. Does your organisation have a Net Zero target? When is it set for? Are you following an incentive to reach this target (i.e. from Government)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018EC-730C-4C7B-854F-52456BE54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DE516C-3F92-4BBF-8982-23C2FBFA20B2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51D9AC-6990-4D9D-BD2F-9705466D1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CA28A9E-15CE-4AAF-8F0B-E2FE49FC8E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3850" y="277491"/>
            <a:ext cx="8240316" cy="115416"/>
          </a:xfrm>
        </p:spPr>
        <p:txBody>
          <a:bodyPr anchor="b"/>
          <a:lstStyle>
            <a:lvl1pPr>
              <a:defRPr sz="750" cap="all" baseline="0"/>
            </a:lvl1pPr>
          </a:lstStyle>
          <a:p>
            <a:pPr lvl="0"/>
            <a:r>
              <a:rPr lang="en-US"/>
              <a:t>Optional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27132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9B741D-8CD5-4496-9888-CF0F21DF45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7098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9B741D-8CD5-4496-9888-CF0F21DF4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60812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5796AB-375F-43F7-AA1C-415652836A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53579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5796AB-375F-43F7-AA1C-415652836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5543400" cy="1877437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0" y="267574"/>
            <a:ext cx="5544620" cy="430887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7655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EE6868-2190-446D-942F-32EEEAA4B4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3530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EE6868-2190-446D-942F-32EEEAA4B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1"/>
            <a:ext cx="4068613" cy="1877437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1388" y="1062501"/>
            <a:ext cx="4068000" cy="1877437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164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5FC2D3-912B-419A-A6DA-71E7DDA164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29739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5FC2D3-912B-419A-A6DA-71E7DDA16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1"/>
            <a:ext cx="4068613" cy="1877437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52976" y="1062039"/>
            <a:ext cx="4051937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58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D2015-F3A3-4F77-BB45-93F9718791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93150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D2015-F3A3-4F77-BB45-93F971879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4" y="1062039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2592239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87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0" y="1068388"/>
            <a:ext cx="5544621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1D62EE-8BDB-4705-AB8E-ADE6A94F7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95808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1D62EE-8BDB-4705-AB8E-ADE6A94F7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1"/>
            <a:ext cx="2592239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6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961" y="1062500"/>
            <a:ext cx="2592000" cy="1569660"/>
          </a:xfrm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07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D17FDD-8214-49C0-9160-F3B7A24032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4997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D17FDD-8214-49C0-9160-F3B7A24032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0"/>
            <a:ext cx="2592000" cy="2664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28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DC0E23-44A1-47D5-B515-29C0AD522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0646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DC0E23-44A1-47D5-B515-29C0AD522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999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8000" y="1062500"/>
            <a:ext cx="2592000" cy="2664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Aft>
                <a:spcPts val="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3296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8DE14E-52C3-4202-83D0-05F3DC1E8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013214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8DE14E-52C3-4202-83D0-05F3DC1E8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1" y="1068389"/>
            <a:ext cx="5544621" cy="187743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2591173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CF1370-6B84-461B-A187-338B2161A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7701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CF1370-6B84-461B-A187-338B2161A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8000" y="1062501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1"/>
            <a:ext cx="5544000" cy="1877437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0246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7E45CC-3DFC-47AD-81AE-8867A7D57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69198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7E45CC-3DFC-47AD-81AE-8867A7D57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999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6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28000" y="1062501"/>
            <a:ext cx="2592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845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166D77-3C74-48A3-811B-DA869FD7E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0625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166D77-3C74-48A3-811B-DA869FD7E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1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400392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998E05-BEBB-4616-AEFA-DEE62209B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3644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998E05-BEBB-4616-AEFA-DEE62209B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1"/>
            <a:ext cx="554355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179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72BEF3-C040-4A59-B1CD-EDF6E1226B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29775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072BEF3-C040-4A59-B1CD-EDF6E1226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76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8000" y="1062501"/>
            <a:ext cx="2592000" cy="2154436"/>
          </a:xfrm>
        </p:spPr>
        <p:txBody>
          <a:bodyPr wrap="square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323850" y="2218065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3851" y="1062000"/>
            <a:ext cx="994286" cy="108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2311147"/>
            <a:ext cx="2592388" cy="1100398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12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12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34411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FA6F1D-ED6B-4D1F-8AE8-A672A4D586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6192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FA6F1D-ED6B-4D1F-8AE8-A672A4D58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323850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2154436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3852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3276600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6600" y="2154436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602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6227763" y="2061354"/>
            <a:ext cx="259238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27763" y="2154436"/>
            <a:ext cx="2592388" cy="138499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600"/>
              </a:spcBef>
              <a:spcAft>
                <a:spcPts val="0"/>
              </a:spcAft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27764" y="1062001"/>
            <a:ext cx="839787" cy="9128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228726" y="1062001"/>
            <a:ext cx="1687514" cy="1038890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181476" y="1062001"/>
            <a:ext cx="1687514" cy="1038890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34226" y="1062001"/>
            <a:ext cx="1687514" cy="1038890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13685" indent="-209969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19936" indent="-209969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68301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1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22.w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37.xml"/><Relationship Id="rId19" Type="http://schemas.openxmlformats.org/officeDocument/2006/relationships/image" Target="../media/image23.png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36FD62-7FC4-0C06-7379-C9A9B8C60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6197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E36FD62-7FC4-0C06-7379-C9A9B8C60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3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0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7" y="4740424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38" y="4740424"/>
            <a:ext cx="7195415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322780" y="4740424"/>
            <a:ext cx="912058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en-GB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98F425-11A7-7B86-C795-4677658256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68579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98F425-11A7-7B86-C795-4677658256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4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1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8" y="4740425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39" y="4740425"/>
            <a:ext cx="7195415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898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322781" y="4740425"/>
            <a:ext cx="912058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8988" algn="l"/>
              </a:tabLst>
            </a:pPr>
            <a:r>
              <a:rPr lang="fr-FR" sz="1100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981661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57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15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73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3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69993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39987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0998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39987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0998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79996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9991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39987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79996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59991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39987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63631A1-FDE6-EFFF-F097-95A898B491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7485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63631A1-FDE6-EFFF-F097-95A898B49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3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0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7" y="4740424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38" y="4740424"/>
            <a:ext cx="7195415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322780" y="4740424"/>
            <a:ext cx="912058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en-GB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473178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  <p:sldLayoutId id="2147483924" r:id="rId14"/>
    <p:sldLayoutId id="2147483925" r:id="rId15"/>
    <p:sldLayoutId id="2147483926" r:id="rId16"/>
    <p:sldLayoutId id="2147483927" r:id="rId17"/>
    <p:sldLayoutId id="2147483928" r:id="rId18"/>
    <p:sldLayoutId id="2147483929" r:id="rId19"/>
    <p:sldLayoutId id="2147483930" r:id="rId20"/>
    <p:sldLayoutId id="2147483931" r:id="rId21"/>
    <p:sldLayoutId id="2147483932" r:id="rId22"/>
    <p:sldLayoutId id="2147483933" r:id="rId23"/>
    <p:sldLayoutId id="2147483934" r:id="rId24"/>
    <p:sldLayoutId id="2147484137" r:id="rId2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>
            <a:extLst>
              <a:ext uri="{FF2B5EF4-FFF2-40B4-BE49-F238E27FC236}">
                <a16:creationId xmlns:a16="http://schemas.microsoft.com/office/drawing/2014/main" id="{8D3E1E9B-8531-4DFA-8595-4E8526D358C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22660" y="267892"/>
            <a:ext cx="8497490" cy="431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32791" name="Rectangle 3">
            <a:extLst>
              <a:ext uri="{FF2B5EF4-FFF2-40B4-BE49-F238E27FC236}">
                <a16:creationId xmlns:a16="http://schemas.microsoft.com/office/drawing/2014/main" id="{A069E12D-44B6-444A-97FE-2DE3E975C3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22660" y="1058467"/>
            <a:ext cx="8498681" cy="36016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E54CAE0-C371-43CA-9296-98F4CC43175F}"/>
              </a:ext>
            </a:extLst>
          </p:cNvPr>
          <p:cNvSpPr txBox="1">
            <a:spLocks/>
          </p:cNvSpPr>
          <p:nvPr/>
        </p:nvSpPr>
        <p:spPr>
          <a:xfrm>
            <a:off x="8286750" y="4740861"/>
            <a:ext cx="534591" cy="16927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eaLnBrk="1" hangingPunct="1">
              <a:defRPr/>
            </a:pPr>
            <a:fld id="{62340BA5-CF5C-445A-B205-E39C92B4545F}" type="slidenum">
              <a:rPr sz="1100">
                <a:solidFill>
                  <a:schemeClr val="accent1"/>
                </a:solidFill>
              </a:rPr>
              <a:pPr eaLnBrk="1" hangingPunct="1">
                <a:defRPr/>
              </a:pPr>
              <a:t>‹#›</a:t>
            </a:fld>
            <a:endParaRPr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9A4B67A-ECAD-47CF-A537-F8A90FFC28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678" y="4739879"/>
            <a:ext cx="7196138" cy="17025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tabLst>
                <a:tab pos="988988" algn="l"/>
              </a:tabLst>
              <a:defRPr lang="en-GB" sz="1100" b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8F29EEDB-72EC-48AB-8715-D7120144E563}"/>
              </a:ext>
            </a:extLst>
          </p:cNvPr>
          <p:cNvSpPr txBox="1">
            <a:spLocks/>
          </p:cNvSpPr>
          <p:nvPr/>
        </p:nvSpPr>
        <p:spPr>
          <a:xfrm>
            <a:off x="322660" y="4740861"/>
            <a:ext cx="912019" cy="16927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eaLnBrk="1" hangingPunct="1">
              <a:tabLst>
                <a:tab pos="988988" algn="l"/>
              </a:tabLst>
              <a:defRPr/>
            </a:pPr>
            <a:r>
              <a:rPr sz="1100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790412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  <p:sldLayoutId id="2147484077" r:id="rId13"/>
    <p:sldLayoutId id="2147484078" r:id="rId14"/>
    <p:sldLayoutId id="2147484079" r:id="rId15"/>
    <p:sldLayoutId id="2147484080" r:id="rId16"/>
    <p:sldLayoutId id="2147484081" r:id="rId17"/>
    <p:sldLayoutId id="2147484082" r:id="rId18"/>
    <p:sldLayoutId id="2147484083" r:id="rId19"/>
    <p:sldLayoutId id="2147484084" r:id="rId20"/>
    <p:sldLayoutId id="2147484085" r:id="rId21"/>
    <p:sldLayoutId id="2147484086" r:id="rId22"/>
    <p:sldLayoutId id="2147484087" r:id="rId23"/>
    <p:sldLayoutId id="2147484088" r:id="rId24"/>
    <p:sldLayoutId id="2147484089" r:id="rId2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ea typeface="ＭＳ Ｐゴシック" pitchFamily="48" charset="-128"/>
        </a:defRPr>
      </a:lvl5pPr>
      <a:lvl6pPr marL="342857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15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73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3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defRPr sz="1575">
          <a:solidFill>
            <a:schemeClr val="tx1"/>
          </a:solidFill>
          <a:latin typeface="+mn-lt"/>
          <a:ea typeface="+mn-ea"/>
        </a:defRPr>
      </a:lvl2pPr>
      <a:lvl3pPr marL="269081" indent="-269081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575">
          <a:solidFill>
            <a:schemeClr val="tx1"/>
          </a:solidFill>
          <a:latin typeface="+mn-lt"/>
          <a:ea typeface="+mn-ea"/>
        </a:defRPr>
      </a:lvl3pPr>
      <a:lvl4pPr marL="539354" indent="-269081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575">
          <a:solidFill>
            <a:schemeClr val="tx1"/>
          </a:solidFill>
          <a:latin typeface="+mn-lt"/>
          <a:ea typeface="+mn-ea"/>
        </a:defRPr>
      </a:lvl4pPr>
      <a:lvl5pPr marL="809625" indent="-269081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575">
          <a:solidFill>
            <a:schemeClr val="tx1"/>
          </a:solidFill>
          <a:latin typeface="+mn-lt"/>
          <a:ea typeface="+mn-ea"/>
        </a:defRPr>
      </a:lvl5pPr>
      <a:lvl6pPr marL="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39987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0998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79996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9991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39987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79996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59991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39987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179294-EF00-4807-8DAD-EFFC735530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157719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179294-EF00-4807-8DAD-EFFC73553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4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1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9583" y="4786590"/>
            <a:ext cx="528993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‹#›</a:t>
            </a:fld>
            <a:endParaRPr lang="en-GB" sz="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327296" y="4786590"/>
            <a:ext cx="903028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8988" algn="l"/>
              </a:tabLst>
            </a:pPr>
            <a:r>
              <a:rPr lang="en-GB" sz="8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917359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  <p:sldLayoutId id="2147484326" r:id="rId13"/>
    <p:sldLayoutId id="2147484327" r:id="rId14"/>
    <p:sldLayoutId id="2147484328" r:id="rId15"/>
    <p:sldLayoutId id="2147484329" r:id="rId16"/>
    <p:sldLayoutId id="2147484330" r:id="rId17"/>
    <p:sldLayoutId id="2147484331" r:id="rId18"/>
    <p:sldLayoutId id="2147484332" r:id="rId19"/>
    <p:sldLayoutId id="2147484333" r:id="rId20"/>
    <p:sldLayoutId id="2147484334" r:id="rId2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57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15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73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3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269993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39987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0998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539987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809980" indent="-26999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79996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9991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39987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79996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59991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39987" indent="-179996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8727EB-2DA5-30A1-C54C-D6721CFAD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9B7C9A-40F2-D479-1E2B-53BCAD6EA8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B3ED1A-5939-24B9-EA1A-C49CF912E1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7A04745-157D-4B73-8CEA-741E94A3C1E6}" type="datetimeFigureOut">
              <a:rPr lang="en-GB" smtClean="0"/>
              <a:t>13/03/2026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21C5A-9C71-58F9-46D8-A26161494C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7E3D0F-AFC8-2D92-9FEB-0E9277CBF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0C144F5-CA67-4C39-AFAA-427F58F669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8114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77" r:id="rId12"/>
    <p:sldLayoutId id="2147484378" r:id="rId13"/>
    <p:sldLayoutId id="2147484379" r:id="rId14"/>
    <p:sldLayoutId id="2147484380" r:id="rId15"/>
    <p:sldLayoutId id="2147484381" r:id="rId16"/>
    <p:sldLayoutId id="2147484382" r:id="rId17"/>
    <p:sldLayoutId id="2147484383" r:id="rId18"/>
    <p:sldLayoutId id="2147484384" r:id="rId19"/>
    <p:sldLayoutId id="2147484385" r:id="rId20"/>
    <p:sldLayoutId id="2147484386" r:id="rId21"/>
    <p:sldLayoutId id="2147484387" r:id="rId2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9097753D-89A7-33C2-713A-4AAAE5A9864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362C5F0E-FF6D-2550-210E-9F3D80AF798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126C2EF0-A7F3-91BA-2899-E2F5836D3A8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9" t="15479" r="1159" b="1"/>
          <a:stretch/>
        </p:blipFill>
        <p:spPr bwMode="auto">
          <a:xfrm>
            <a:off x="0" y="5056026"/>
            <a:ext cx="9144000" cy="162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 descr="A logo for a company&#10;&#10;Description automatically generated">
            <a:extLst>
              <a:ext uri="{FF2B5EF4-FFF2-40B4-BE49-F238E27FC236}">
                <a16:creationId xmlns:a16="http://schemas.microsoft.com/office/drawing/2014/main" id="{EBCB5E1B-A637-3F7A-2A62-B8D8176C1964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2300" y="8601"/>
            <a:ext cx="1929837" cy="97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067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8" r:id="rId1"/>
    <p:sldLayoutId id="2147484479" r:id="rId2"/>
    <p:sldLayoutId id="2147484480" r:id="rId3"/>
    <p:sldLayoutId id="2147484481" r:id="rId4"/>
    <p:sldLayoutId id="2147484482" r:id="rId5"/>
    <p:sldLayoutId id="2147484483" r:id="rId6"/>
    <p:sldLayoutId id="2147484484" r:id="rId7"/>
    <p:sldLayoutId id="2147484485" r:id="rId8"/>
    <p:sldLayoutId id="2147484486" r:id="rId9"/>
    <p:sldLayoutId id="2147484487" r:id="rId10"/>
    <p:sldLayoutId id="2147484488" r:id="rId11"/>
    <p:sldLayoutId id="2147484489" r:id="rId12"/>
    <p:sldLayoutId id="2147484490" r:id="rId13"/>
    <p:sldLayoutId id="2147484491" r:id="rId14"/>
    <p:sldLayoutId id="2147484492" r:id="rId15"/>
    <p:sldLayoutId id="2147484493" r:id="rId16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8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40.png"/><Relationship Id="rId5" Type="http://schemas.openxmlformats.org/officeDocument/2006/relationships/hyperlink" Target="https://drive.google.com/file/d/1eWXj24w4CGt_LNA2sHKzVfcZRBObZr1r/view?usp=sharing" TargetMode="External"/><Relationship Id="rId4" Type="http://schemas.openxmlformats.org/officeDocument/2006/relationships/hyperlink" Target="https://drive.google.com/file/d/1dcoNiqxI3FlFQebxaXCleIkWXXsCSeB1/view?usp=sharin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7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ED9F5-1295-740D-217C-0779EA694A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3544" y="1439793"/>
            <a:ext cx="7296912" cy="1790700"/>
          </a:xfrm>
        </p:spPr>
        <p:txBody>
          <a:bodyPr>
            <a:normAutofit/>
          </a:bodyPr>
          <a:lstStyle/>
          <a:p>
            <a:r>
              <a:rPr lang="en-GB" sz="4000" dirty="0">
                <a:latin typeface="Arial" panose="020B0604020202020204" pitchFamily="34" charset="0"/>
                <a:cs typeface="Arial" panose="020B0604020202020204" pitchFamily="34" charset="0"/>
              </a:rPr>
              <a:t>West London Construction Employers – WL Annex to London LSIP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FBE65-1BA2-E827-E0C0-E7ACCE2281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30493"/>
            <a:ext cx="6858000" cy="1241822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arch 2026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12655E9-3E12-C5B9-498E-136CF2EC4C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2879" y="105639"/>
            <a:ext cx="2421731" cy="1334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1049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67349-60E3-91C2-4F09-B19577B0F6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319C243-0E49-3A7F-2882-1ECB51EA5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6964" y="260952"/>
            <a:ext cx="5160101" cy="794234"/>
          </a:xfrm>
          <a:ln>
            <a:noFill/>
          </a:ln>
        </p:spPr>
        <p:txBody>
          <a:bodyPr/>
          <a:lstStyle/>
          <a:p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</a:rPr>
              <a:t>Mayor’s Inclusive Talent Strategy (ITS) and future Skills Boards/ Hubs   </a:t>
            </a:r>
            <a:endParaRPr lang="en-GB" sz="2700" b="1" i="1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pic>
        <p:nvPicPr>
          <p:cNvPr id="2050" name="Picture 2" descr="Homepage - West London Business">
            <a:extLst>
              <a:ext uri="{FF2B5EF4-FFF2-40B4-BE49-F238E27FC236}">
                <a16:creationId xmlns:a16="http://schemas.microsoft.com/office/drawing/2014/main" id="{92F3F90C-4F5B-B0F6-1FB6-3A6D9F37AA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486" y="155682"/>
            <a:ext cx="1458816" cy="794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58DA18-573F-D2F3-8B1E-18EAC15FAF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67" y="1083088"/>
            <a:ext cx="7943537" cy="311049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516B0A8F-168B-5626-EA28-B3E5DBBFC644}"/>
              </a:ext>
            </a:extLst>
          </p:cNvPr>
          <p:cNvSpPr/>
          <p:nvPr/>
        </p:nvSpPr>
        <p:spPr>
          <a:xfrm>
            <a:off x="7526866" y="3403601"/>
            <a:ext cx="948266" cy="550333"/>
          </a:xfrm>
          <a:prstGeom prst="rect">
            <a:avLst/>
          </a:prstGeom>
          <a:noFill/>
          <a:ln w="53975"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0AD8A3C-555B-D023-9CD2-06CF9E3EF424}"/>
              </a:ext>
            </a:extLst>
          </p:cNvPr>
          <p:cNvSpPr txBox="1"/>
          <p:nvPr/>
        </p:nvSpPr>
        <p:spPr>
          <a:xfrm>
            <a:off x="205317" y="4189393"/>
            <a:ext cx="8733366" cy="95410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Continued shift to employer-led system learning from </a:t>
            </a:r>
            <a:r>
              <a:rPr kumimoji="0" lang="en-GB" sz="14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Skillnet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 Ireland: https://www.skillnetireland.ie/sectors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Information/ insight flow between boards and levels critical to success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i="1" kern="1200" dirty="0">
                <a:solidFill>
                  <a:prstClr val="white"/>
                </a:solidFill>
                <a:latin typeface="Aptos" panose="020B0004020202020204" pitchFamily="34" charset="0"/>
              </a:rPr>
              <a:t>WL Stakeholder analysis against boards needed (e.g. Flannery &amp; Thames Water on construction board)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F192E45-1C0F-DDF6-45B0-B3EDB3C270EB}"/>
              </a:ext>
            </a:extLst>
          </p:cNvPr>
          <p:cNvSpPr/>
          <p:nvPr/>
        </p:nvSpPr>
        <p:spPr>
          <a:xfrm>
            <a:off x="787399" y="3039533"/>
            <a:ext cx="1185334" cy="685800"/>
          </a:xfrm>
          <a:prstGeom prst="rect">
            <a:avLst/>
          </a:prstGeom>
          <a:noFill/>
          <a:ln w="53975"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65607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84BC5-01B6-2B86-FDF4-2BC599EEF8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B3CC2B6-4BFB-23EF-3B61-2D8533C0B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2437" y="169619"/>
            <a:ext cx="5690496" cy="794234"/>
          </a:xfrm>
          <a:ln>
            <a:noFill/>
          </a:ln>
        </p:spPr>
        <p:txBody>
          <a:bodyPr/>
          <a:lstStyle/>
          <a:p>
            <a:r>
              <a:rPr lang="en-GB" b="1" dirty="0">
                <a:solidFill>
                  <a:schemeClr val="tx1"/>
                </a:solidFill>
                <a:latin typeface="Aptos" panose="020B0004020202020204" pitchFamily="34" charset="0"/>
              </a:rPr>
              <a:t>Mayor’s Inclusive Talent Strategy (ITS) and future of Skills Boards/ Hubs   </a:t>
            </a:r>
            <a:r>
              <a:rPr lang="en-GB" sz="1600" b="1" i="1" dirty="0" err="1">
                <a:solidFill>
                  <a:schemeClr val="tx1"/>
                </a:solidFill>
                <a:latin typeface="Aptos" panose="020B0004020202020204" pitchFamily="34" charset="0"/>
              </a:rPr>
              <a:t>Cont</a:t>
            </a:r>
            <a:r>
              <a:rPr lang="en-GB" sz="1600" b="1" i="1" dirty="0">
                <a:solidFill>
                  <a:schemeClr val="tx1"/>
                </a:solidFill>
                <a:latin typeface="Aptos" panose="020B0004020202020204" pitchFamily="34" charset="0"/>
              </a:rPr>
              <a:t>…</a:t>
            </a:r>
            <a:endParaRPr lang="en-GB" sz="2700" b="1" i="1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pic>
        <p:nvPicPr>
          <p:cNvPr id="2050" name="Picture 2" descr="Homepage - West London Business">
            <a:extLst>
              <a:ext uri="{FF2B5EF4-FFF2-40B4-BE49-F238E27FC236}">
                <a16:creationId xmlns:a16="http://schemas.microsoft.com/office/drawing/2014/main" id="{00749E37-F10E-FC82-F2BB-6B5ED02AA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486" y="155682"/>
            <a:ext cx="1458816" cy="794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D87F55E-4806-2722-05DF-25A43CE2628A}"/>
              </a:ext>
            </a:extLst>
          </p:cNvPr>
          <p:cNvSpPr txBox="1"/>
          <p:nvPr/>
        </p:nvSpPr>
        <p:spPr>
          <a:xfrm>
            <a:off x="453267" y="2142165"/>
            <a:ext cx="2284069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</a:rPr>
              <a:t>West London Skills 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0" dirty="0">
                <a:solidFill>
                  <a:schemeClr val="tx1"/>
                </a:solidFill>
                <a:latin typeface="Aptos" panose="020B0004020202020204" pitchFamily="34" charset="0"/>
              </a:rPr>
              <a:t>Advanced digital skills, AI and data cen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0" dirty="0">
                <a:solidFill>
                  <a:schemeClr val="tx1"/>
                </a:solidFill>
                <a:latin typeface="Aptos" panose="020B0004020202020204" pitchFamily="34" charset="0"/>
              </a:rPr>
              <a:t>Green infrastructure (clean energ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0" dirty="0">
                <a:solidFill>
                  <a:schemeClr val="tx1"/>
                </a:solidFill>
                <a:latin typeface="Aptos" panose="020B0004020202020204" pitchFamily="34" charset="0"/>
              </a:rPr>
              <a:t>Hospit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0" dirty="0">
                <a:solidFill>
                  <a:schemeClr val="tx1"/>
                </a:solidFill>
                <a:latin typeface="Aptos" panose="020B0004020202020204" pitchFamily="34" charset="0"/>
              </a:rPr>
              <a:t>Screen industries and creative te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6FA144-78F2-3863-CB8A-3DF0E29626EC}"/>
              </a:ext>
            </a:extLst>
          </p:cNvPr>
          <p:cNvSpPr txBox="1"/>
          <p:nvPr/>
        </p:nvSpPr>
        <p:spPr>
          <a:xfrm>
            <a:off x="453266" y="1413047"/>
            <a:ext cx="8131933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</a:rPr>
              <a:t>West London Skills &amp; Employment Board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9C69253-4BDC-35BA-5743-C4FD69D0637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9278" y="2186723"/>
            <a:ext cx="1135643" cy="618764"/>
          </a:xfrm>
          <a:prstGeom prst="rect">
            <a:avLst/>
          </a:prstGeom>
        </p:spPr>
      </p:pic>
      <p:pic>
        <p:nvPicPr>
          <p:cNvPr id="18" name="Picture 4" descr="WTC Logistics">
            <a:extLst>
              <a:ext uri="{FF2B5EF4-FFF2-40B4-BE49-F238E27FC236}">
                <a16:creationId xmlns:a16="http://schemas.microsoft.com/office/drawing/2014/main" id="{DB484A36-D95F-FAC9-6775-459B35DDA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6901" y="2212011"/>
            <a:ext cx="1398621" cy="568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CF9DDB2-733A-9B97-BD45-1D44B2C5B11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8024"/>
          <a:stretch>
            <a:fillRect/>
          </a:stretch>
        </p:blipFill>
        <p:spPr>
          <a:xfrm>
            <a:off x="3701422" y="3270133"/>
            <a:ext cx="2147380" cy="56819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4B27059-C32D-54D6-CF7F-D69FE80C13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96073" y="1986415"/>
            <a:ext cx="1398621" cy="105119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3ABC2CD-D6BD-DAF5-B784-2C3C0C4634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0507" y="3245636"/>
            <a:ext cx="2230675" cy="70661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1395D335-68BA-F69E-F7DE-1BF0EC917981}"/>
              </a:ext>
            </a:extLst>
          </p:cNvPr>
          <p:cNvSpPr txBox="1"/>
          <p:nvPr/>
        </p:nvSpPr>
        <p:spPr>
          <a:xfrm>
            <a:off x="5462557" y="2733493"/>
            <a:ext cx="11673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+ Transpor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48409F0-EC0D-033B-EF6F-358C45BB0605}"/>
              </a:ext>
            </a:extLst>
          </p:cNvPr>
          <p:cNvSpPr txBox="1"/>
          <p:nvPr/>
        </p:nvSpPr>
        <p:spPr>
          <a:xfrm>
            <a:off x="4775112" y="4087269"/>
            <a:ext cx="23812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dirty="0">
                <a:solidFill>
                  <a:srgbClr val="00B050"/>
                </a:solidFill>
              </a:rPr>
              <a:t>Life Sciences Innovation &amp; Skills Hub</a:t>
            </a:r>
            <a:endParaRPr lang="en-GB" dirty="0">
              <a:solidFill>
                <a:srgbClr val="00B050"/>
              </a:solidFill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3E93567E-27D4-406A-CCE1-AF5CAB214B30}"/>
              </a:ext>
            </a:extLst>
          </p:cNvPr>
          <p:cNvCxnSpPr/>
          <p:nvPr/>
        </p:nvCxnSpPr>
        <p:spPr>
          <a:xfrm flipV="1">
            <a:off x="2737336" y="2805487"/>
            <a:ext cx="335048" cy="2321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9BE7E9F2-D47E-05A3-E5C7-2276199AAE9E}"/>
              </a:ext>
            </a:extLst>
          </p:cNvPr>
          <p:cNvCxnSpPr>
            <a:cxnSpLocks/>
          </p:cNvCxnSpPr>
          <p:nvPr/>
        </p:nvCxnSpPr>
        <p:spPr>
          <a:xfrm>
            <a:off x="2777031" y="3245636"/>
            <a:ext cx="412926" cy="2449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BCEC453-44D6-AF0F-6DBC-9043D0F9CCAC}"/>
              </a:ext>
            </a:extLst>
          </p:cNvPr>
          <p:cNvCxnSpPr>
            <a:cxnSpLocks/>
          </p:cNvCxnSpPr>
          <p:nvPr/>
        </p:nvCxnSpPr>
        <p:spPr>
          <a:xfrm>
            <a:off x="2816352" y="3493008"/>
            <a:ext cx="320040" cy="1920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362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9465F-49F8-11D9-F917-351C50547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2366" y="347402"/>
            <a:ext cx="4793180" cy="475562"/>
          </a:xfrm>
          <a:ln>
            <a:noFill/>
          </a:ln>
        </p:spPr>
        <p:txBody>
          <a:bodyPr/>
          <a:lstStyle/>
          <a:p>
            <a:r>
              <a:rPr lang="en-GB" sz="2700" b="1" dirty="0">
                <a:solidFill>
                  <a:schemeClr val="tx1"/>
                </a:solidFill>
              </a:rPr>
              <a:t>Next steps</a:t>
            </a:r>
          </a:p>
        </p:txBody>
      </p:sp>
      <p:pic>
        <p:nvPicPr>
          <p:cNvPr id="3" name="Picture 2" descr="Homepage - West London Business">
            <a:extLst>
              <a:ext uri="{FF2B5EF4-FFF2-40B4-BE49-F238E27FC236}">
                <a16:creationId xmlns:a16="http://schemas.microsoft.com/office/drawing/2014/main" id="{BC333F63-7617-793F-499F-882DE36FC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486" y="155682"/>
            <a:ext cx="1573116" cy="859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FD13F-972A-B622-E088-49B2D3E4FE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148" y="1240567"/>
            <a:ext cx="4893228" cy="3400823"/>
          </a:xfrm>
        </p:spPr>
        <p:txBody>
          <a:bodyPr/>
          <a:lstStyle/>
          <a:p>
            <a:pPr marL="214313" indent="-214313" eaLnBrk="1" fontAlgn="t" hangingPunct="1">
              <a:buFont typeface="Arial" panose="020B0604020202020204" pitchFamily="34" charset="0"/>
              <a:buChar char="•"/>
            </a:pPr>
            <a:r>
              <a:rPr lang="en-GB" sz="2400" dirty="0"/>
              <a:t>LSIP with GLA and then SoS for DfE for approval </a:t>
            </a:r>
          </a:p>
          <a:p>
            <a:pPr marL="214313" indent="-214313" eaLnBrk="1" fontAlgn="t" hangingPunct="1">
              <a:buFont typeface="Arial" panose="020B0604020202020204" pitchFamily="34" charset="0"/>
              <a:buChar char="•"/>
            </a:pPr>
            <a:r>
              <a:rPr lang="en-GB" sz="2400" dirty="0"/>
              <a:t>West London Skills Hubs proposal with GLA for review </a:t>
            </a:r>
          </a:p>
          <a:p>
            <a:pPr marL="557213" lvl="1" indent="-214313" eaLnBrk="1" fontAlgn="t" hangingPunct="1">
              <a:buFont typeface="Arial" panose="020B0604020202020204" pitchFamily="34" charset="0"/>
              <a:buChar char="•"/>
            </a:pPr>
            <a:r>
              <a:rPr lang="en-GB" sz="1800" dirty="0"/>
              <a:t>£300k/ annum for three years managed by WLA, supported by WL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CACA4F-6FDF-117D-8855-3F343731CDFF}"/>
              </a:ext>
            </a:extLst>
          </p:cNvPr>
          <p:cNvSpPr txBox="1"/>
          <p:nvPr/>
        </p:nvSpPr>
        <p:spPr>
          <a:xfrm>
            <a:off x="5704473" y="2802478"/>
            <a:ext cx="10922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hlinkClick r:id="rId4"/>
              </a:rPr>
              <a:t>Download &gt;&gt;</a:t>
            </a:r>
            <a:endParaRPr lang="en-GB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54B1AB-E0CA-A69A-1E6B-BA461D640EAF}"/>
              </a:ext>
            </a:extLst>
          </p:cNvPr>
          <p:cNvSpPr txBox="1"/>
          <p:nvPr/>
        </p:nvSpPr>
        <p:spPr>
          <a:xfrm>
            <a:off x="6961271" y="4738010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hlinkClick r:id="rId5"/>
              </a:rPr>
              <a:t>Download &gt;&gt;</a:t>
            </a:r>
            <a:endParaRPr lang="en-GB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A06ACC-E319-2638-7ED3-641EBD7F7B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2798" y="1123447"/>
            <a:ext cx="2825496" cy="158583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893654-B67D-F0CE-A454-92C5A1C144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44299">
            <a:off x="7140851" y="2324030"/>
            <a:ext cx="1709354" cy="2414430"/>
          </a:xfrm>
          <a:prstGeom prst="rect">
            <a:avLst/>
          </a:prstGeom>
          <a:ln>
            <a:solidFill>
              <a:srgbClr val="55555A"/>
            </a:solidFill>
          </a:ln>
        </p:spPr>
      </p:pic>
    </p:spTree>
    <p:extLst>
      <p:ext uri="{BB962C8B-B14F-4D97-AF65-F5344CB8AC3E}">
        <p14:creationId xmlns:p14="http://schemas.microsoft.com/office/powerpoint/2010/main" val="2883568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6A32BB-F58B-15B3-D7F0-0F6008E1E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0621" y="406924"/>
            <a:ext cx="4448810" cy="426482"/>
          </a:xfrm>
          <a:ln>
            <a:noFill/>
          </a:ln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Sector focus for West London: Local Skills Improvement Plan 2</a:t>
            </a:r>
          </a:p>
        </p:txBody>
      </p:sp>
      <p:pic>
        <p:nvPicPr>
          <p:cNvPr id="1026" name="Picture 2" descr="Homepage - West London Business">
            <a:extLst>
              <a:ext uri="{FF2B5EF4-FFF2-40B4-BE49-F238E27FC236}">
                <a16:creationId xmlns:a16="http://schemas.microsoft.com/office/drawing/2014/main" id="{1AA21F3E-074E-7490-8B56-E2839AA96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782" y="152401"/>
            <a:ext cx="1713258" cy="93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45B2420-A21B-1C31-D298-B80ED50452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6725" y="1087930"/>
            <a:ext cx="6250550" cy="371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862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284B6D0-DEF5-846E-037E-2DA182B7C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5001" y="1121913"/>
            <a:ext cx="6533998" cy="3545965"/>
          </a:xfrm>
          <a:prstGeom prst="rect">
            <a:avLst/>
          </a:prstGeom>
        </p:spPr>
      </p:pic>
      <p:sp>
        <p:nvSpPr>
          <p:cNvPr id="17" name="Title 7">
            <a:extLst>
              <a:ext uri="{FF2B5EF4-FFF2-40B4-BE49-F238E27FC236}">
                <a16:creationId xmlns:a16="http://schemas.microsoft.com/office/drawing/2014/main" id="{1E4A5312-AC1F-F1FE-EBC2-140BD8D4C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0621" y="406924"/>
            <a:ext cx="4448810" cy="426482"/>
          </a:xfrm>
          <a:ln>
            <a:noFill/>
          </a:ln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Priority sector rationale</a:t>
            </a:r>
          </a:p>
        </p:txBody>
      </p:sp>
      <p:pic>
        <p:nvPicPr>
          <p:cNvPr id="18" name="Picture 2" descr="Homepage - West London Business">
            <a:extLst>
              <a:ext uri="{FF2B5EF4-FFF2-40B4-BE49-F238E27FC236}">
                <a16:creationId xmlns:a16="http://schemas.microsoft.com/office/drawing/2014/main" id="{6E8D739B-2AE8-7CD3-3709-18E1DA2C50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782" y="152401"/>
            <a:ext cx="1713258" cy="93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E6AF0B-260D-AAF6-2F03-378916A5BDB7}"/>
              </a:ext>
            </a:extLst>
          </p:cNvPr>
          <p:cNvSpPr txBox="1"/>
          <p:nvPr/>
        </p:nvSpPr>
        <p:spPr>
          <a:xfrm>
            <a:off x="906993" y="4696139"/>
            <a:ext cx="74760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i="1" noProof="0" dirty="0">
                <a:latin typeface="Arial" panose="020B0604020202020204" pitchFamily="34" charset="0"/>
                <a:cs typeface="Arial" panose="020B0604020202020204" pitchFamily="34" charset="0"/>
              </a:rPr>
              <a:t>Combined these sectors span 63.9% of West London’s workforce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1407443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00E067-6AC2-B0BA-B24B-C7D0DE45DB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288"/>
            <a:ext cx="9144000" cy="513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509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A853E-32B7-D6D9-3E5A-894192EEF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4251156-2D0D-D52C-C49E-13486DF8C3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54"/>
            <a:ext cx="9144000" cy="513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996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08B4A4-C717-CD49-245F-D7D25A0E98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632" y="453199"/>
            <a:ext cx="8001000" cy="4500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412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549F1-A4DE-1C1E-AE60-E92B6246F8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0353F7-C202-4D57-75AC-F8B6936EC9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2824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3B0B6C-9A7D-D706-C05F-471ECC5E7D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B90C231-ADEC-CE12-DB5E-9560EF394F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546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826BA-6E75-3704-1902-51500BC21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57DF0F9-E9D7-DC71-64A1-BBF8B82D6C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8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ational Grid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ational Grid" id="{7D5167B4-725E-494D-85F1-D4378AC3C275}" vid="{4773C884-3CFE-40B2-9863-71DF153A1365}"/>
    </a:ext>
  </a:extLst>
</a:theme>
</file>

<file path=ppt/theme/theme2.xml><?xml version="1.0" encoding="utf-8"?>
<a:theme xmlns:a="http://schemas.openxmlformats.org/drawingml/2006/main" name="10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G PowerPoint Template 16x9 2018 - Copy" id="{F9AD54BB-F292-472A-99C8-0BB93A1CA384}" vid="{FB98758F-C64C-41EB-A588-E8D9BFEB6570}"/>
    </a:ext>
  </a:extLst>
</a:theme>
</file>

<file path=ppt/theme/theme3.xml><?xml version="1.0" encoding="utf-8"?>
<a:theme xmlns:a="http://schemas.openxmlformats.org/drawingml/2006/main" name="2_NG_PPT_16x9_Generic_template-blue">
  <a:themeElements>
    <a:clrScheme name="Custom 39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UK images 16x9" id="{8E103AF5-4482-43A8-A7C6-840BF35ECE55}" vid="{7F246E92-E174-42DE-906E-5BB5D6B93661}"/>
    </a:ext>
  </a:extLst>
</a:theme>
</file>

<file path=ppt/theme/theme4.xml><?xml version="1.0" encoding="utf-8"?>
<a:theme xmlns:a="http://schemas.openxmlformats.org/drawingml/2006/main" name="1_National Grid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D58AFF06-021E-4DBE-8C06-C50121B7D3FC}" vid="{50386854-91AC-4B04-9145-F979D6E1531E}"/>
    </a:ext>
  </a:extLst>
</a:theme>
</file>

<file path=ppt/theme/theme5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.potx  -  Read-Only" id="{086125ED-8FA9-4C05-8AC5-96FD5A77F536}" vid="{51A4CB0C-8F21-4167-ADCF-038EA9D86B7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AAF4BFEFEE6748951C8615286CD0D7" ma:contentTypeVersion="13" ma:contentTypeDescription="Create a new document." ma:contentTypeScope="" ma:versionID="34649970b8b462734f91cddb6a30e61a">
  <xsd:schema xmlns:xsd="http://www.w3.org/2001/XMLSchema" xmlns:xs="http://www.w3.org/2001/XMLSchema" xmlns:p="http://schemas.microsoft.com/office/2006/metadata/properties" xmlns:ns2="f79edc82-ad4d-486e-a20f-43e6dbd46ddf" xmlns:ns3="0f353a77-0980-4f38-8f8c-030dcc17faa7" targetNamespace="http://schemas.microsoft.com/office/2006/metadata/properties" ma:root="true" ma:fieldsID="5c853fa92ccc64b41dc7a7ca374bc678" ns2:_="" ns3:_="">
    <xsd:import namespace="f79edc82-ad4d-486e-a20f-43e6dbd46ddf"/>
    <xsd:import namespace="0f353a77-0980-4f38-8f8c-030dcc17faa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9edc82-ad4d-486e-a20f-43e6dbd46d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f681b3f-2882-4259-9ba0-bc596b89a5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353a77-0980-4f38-8f8c-030dcc17faa7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93325301-62fd-45f7-939f-3fb264ab60e6}" ma:internalName="TaxCatchAll" ma:showField="CatchAllData" ma:web="0f353a77-0980-4f38-8f8c-030dcc17faa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f353a77-0980-4f38-8f8c-030dcc17faa7" xsi:nil="true"/>
    <lcf76f155ced4ddcb4097134ff3c332f xmlns="f79edc82-ad4d-486e-a20f-43e6dbd46dd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02E4857-5732-42EA-9627-3BA35F4605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63444CC-3CE8-4481-8792-178E0D9D41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9edc82-ad4d-486e-a20f-43e6dbd46ddf"/>
    <ds:schemaRef ds:uri="0f353a77-0980-4f38-8f8c-030dcc17fa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F4EA642-DB16-4D0E-B294-916C2A72FBCC}">
  <ds:schemaRefs>
    <ds:schemaRef ds:uri="http://purl.org/dc/dcmitype/"/>
    <ds:schemaRef ds:uri="f79edc82-ad4d-486e-a20f-43e6dbd46ddf"/>
    <ds:schemaRef ds:uri="http://www.w3.org/XML/1998/namespace"/>
    <ds:schemaRef ds:uri="http://schemas.openxmlformats.org/package/2006/metadata/core-properties"/>
    <ds:schemaRef ds:uri="0f353a77-0980-4f38-8f8c-030dcc17faa7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ational Grid</Template>
  <TotalTime>3683</TotalTime>
  <Words>216</Words>
  <Application>Microsoft Office PowerPoint</Application>
  <PresentationFormat>On-screen Show (16:9)</PresentationFormat>
  <Paragraphs>27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ptos</vt:lpstr>
      <vt:lpstr>Aptos Display</vt:lpstr>
      <vt:lpstr>Arial</vt:lpstr>
      <vt:lpstr>Calibri</vt:lpstr>
      <vt:lpstr>National Grid</vt:lpstr>
      <vt:lpstr>10_NG_PPT_16x9_Generic_template-blue</vt:lpstr>
      <vt:lpstr>2_NG_PPT_16x9_Generic_template-blue</vt:lpstr>
      <vt:lpstr>1_National Grid</vt:lpstr>
      <vt:lpstr>US NG_2018 PPT__EnergyLines Template 16x9</vt:lpstr>
      <vt:lpstr>Office Theme</vt:lpstr>
      <vt:lpstr>1_Office Theme</vt:lpstr>
      <vt:lpstr>think-cell Slide</vt:lpstr>
      <vt:lpstr>West London Construction Employers – WL Annex to London LSIP Update</vt:lpstr>
      <vt:lpstr>Sector focus for West London: Local Skills Improvement Plan 2</vt:lpstr>
      <vt:lpstr>Priority sector rationa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yor’s Inclusive Talent Strategy (ITS) and future Skills Boards/ Hubs   </vt:lpstr>
      <vt:lpstr>Mayor’s Inclusive Talent Strategy (ITS) and future of Skills Boards/ Hubs   Cont…</vt:lpstr>
      <vt:lpstr>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n Haggerty</dc:creator>
  <cp:lastModifiedBy>barry mortimer</cp:lastModifiedBy>
  <cp:revision>7</cp:revision>
  <cp:lastPrinted>2024-09-22T19:48:58Z</cp:lastPrinted>
  <dcterms:created xsi:type="dcterms:W3CDTF">2023-07-03T14:36:36Z</dcterms:created>
  <dcterms:modified xsi:type="dcterms:W3CDTF">2026-03-13T11:0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AAF4BFEFEE6748951C8615286CD0D7</vt:lpwstr>
  </property>
  <property fmtid="{D5CDD505-2E9C-101B-9397-08002B2CF9AE}" pid="3" name="MediaServiceImageTags">
    <vt:lpwstr/>
  </property>
</Properties>
</file>